
<file path=[Content_Types].xml><?xml version="1.0" encoding="utf-8"?>
<Types xmlns="http://schemas.openxmlformats.org/package/2006/content-types">
  <Default Extension="bin" ContentType="image/png"/>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embeddings/oleObject1.bin" ContentType="application/vnd.openxmlformats-officedocument.oleObject"/>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embeddings/oleObject2.bin" ContentType="application/vnd.openxmlformats-officedocument.oleObject"/>
  <Override PartName="/ppt/tags/tag250.xml" ContentType="application/vnd.openxmlformats-officedocument.presentationml.tags+xml"/>
  <Override PartName="/ppt/embeddings/oleObject3.bin" ContentType="application/vnd.openxmlformats-officedocument.oleObject"/>
  <Override PartName="/ppt/tags/tag251.xml" ContentType="application/vnd.openxmlformats-officedocument.presentationml.tags+xml"/>
  <Override PartName="/ppt/embeddings/oleObject4.bin" ContentType="application/vnd.openxmlformats-officedocument.oleObject"/>
  <Override PartName="/ppt/tags/tag252.xml" ContentType="application/vnd.openxmlformats-officedocument.presentationml.tags+xml"/>
  <Override PartName="/ppt/embeddings/oleObject5.bin" ContentType="application/vnd.openxmlformats-officedocument.oleObject"/>
  <Override PartName="/ppt/tags/tag253.xml" ContentType="application/vnd.openxmlformats-officedocument.presentationml.tags+xml"/>
  <Override PartName="/ppt/embeddings/oleObject6.bin" ContentType="application/vnd.openxmlformats-officedocument.oleObject"/>
  <Override PartName="/ppt/tags/tag254.xml" ContentType="application/vnd.openxmlformats-officedocument.presentationml.tags+xml"/>
  <Override PartName="/ppt/embeddings/oleObject7.bin" ContentType="application/vnd.openxmlformats-officedocument.oleObject"/>
  <Override PartName="/ppt/tags/tag255.xml" ContentType="application/vnd.openxmlformats-officedocument.presentationml.tags+xml"/>
  <Override PartName="/ppt/embeddings/oleObject8.bin" ContentType="application/vnd.openxmlformats-officedocument.oleObject"/>
  <Override PartName="/ppt/tags/tag256.xml" ContentType="application/vnd.openxmlformats-officedocument.presentationml.tags+xml"/>
  <Override PartName="/ppt/embeddings/oleObject9.bin" ContentType="application/vnd.openxmlformats-officedocument.oleObject"/>
  <Override PartName="/ppt/tags/tag257.xml" ContentType="application/vnd.openxmlformats-officedocument.presentationml.tags+xml"/>
  <Override PartName="/ppt/embeddings/oleObject10.bin" ContentType="application/vnd.openxmlformats-officedocument.oleObject"/>
  <Override PartName="/ppt/tags/tag258.xml" ContentType="application/vnd.openxmlformats-officedocument.presentationml.tags+xml"/>
  <Override PartName="/ppt/embeddings/oleObject11.bin" ContentType="application/vnd.openxmlformats-officedocument.oleObject"/>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59.xml" ContentType="application/vnd.openxmlformats-officedocument.presentationml.tags+xml"/>
  <Override PartName="/ppt/notesSlides/notesSlide2.xml" ContentType="application/vnd.openxmlformats-officedocument.presentationml.notesSlide+xml"/>
  <Override PartName="/ppt/embeddings/oleObject12.bin" ContentType="application/vnd.openxmlformats-officedocument.oleObject"/>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33" r:id="rId10"/>
    <p:sldMasterId id="2147483806" r:id="rId11"/>
  </p:sldMasterIdLst>
  <p:notesMasterIdLst>
    <p:notesMasterId r:id="rId22"/>
  </p:notesMasterIdLst>
  <p:handoutMasterIdLst>
    <p:handoutMasterId r:id="rId23"/>
  </p:handoutMasterIdLst>
  <p:sldIdLst>
    <p:sldId id="402" r:id="rId12"/>
    <p:sldId id="270" r:id="rId13"/>
    <p:sldId id="272" r:id="rId14"/>
    <p:sldId id="455" r:id="rId15"/>
    <p:sldId id="452" r:id="rId16"/>
    <p:sldId id="453" r:id="rId17"/>
    <p:sldId id="454" r:id="rId18"/>
    <p:sldId id="450" r:id="rId19"/>
    <p:sldId id="451" r:id="rId20"/>
    <p:sldId id="449" r:id="rId21"/>
  </p:sldIdLst>
  <p:sldSz cx="12195175" cy="6858000"/>
  <p:notesSz cx="6858000" cy="9144000"/>
  <p:embeddedFontLst>
    <p:embeddedFont>
      <p:font typeface="72 Brand" panose="020B0604020202020204" charset="0"/>
      <p:regular r:id="rId24"/>
      <p:bold r:id="rId25"/>
      <p:italic r:id="rId26"/>
      <p:boldItalic r:id="rId27"/>
    </p:embeddedFont>
    <p:embeddedFont>
      <p:font typeface="72 Brand Book" panose="020B0604020202020204" charset="0"/>
      <p:regular r:id="rId28"/>
      <p:italic r:id="rId29"/>
    </p:embeddedFont>
    <p:embeddedFont>
      <p:font typeface="72 Brand Medium" panose="020B0604020202020204" charset="0"/>
      <p:regular r:id="rId30"/>
      <p:italic r:id="rId31"/>
    </p:embeddedFont>
    <p:embeddedFont>
      <p:font typeface="Segoe UI" panose="020B0502040204020203" pitchFamily="34" charset="0"/>
      <p:regular r:id="rId32"/>
      <p:bold r:id="rId33"/>
      <p:italic r:id="rId34"/>
      <p:boldItalic r:id="rId35"/>
    </p:embeddedFont>
  </p:embeddedFontLst>
  <p:custDataLst>
    <p:tags r:id="rId36"/>
  </p:custDataLst>
  <p:defaultTex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1" userDrawn="1">
          <p15:clr>
            <a:srgbClr val="A4A3A4"/>
          </p15:clr>
        </p15:guide>
        <p15:guide id="2" orient="horz" pos="331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85670C-280E-D3D3-FC64-1DB5C613F9E0}" name="Drefke, Kate" initials="DK" userId="S::kate.drefke@sap.com::89528195-207e-415a-92d9-f5aa6a350b60" providerId="AD"/>
  <p188:author id="{B77C3A59-75FE-1FA1-06CE-81E9F97B3F92}" name="Bailey, Hope" initials="" userId="S::hope.bailey@sap.com::4220f14c-be71-41d4-a1d4-e64cbf226fdc" providerId="AD"/>
  <p188:author id="{FD626EBD-FF20-542C-252F-2CF68891A8D9}" name="Brass, Michael" initials="MB" userId="S::michael.brass@sap.com::7b692b09-94a3-45c8-a879-e185050244ac"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4F5C61-4DA3-4B33-B641-F825C9CE6979}" v="5" dt="2025-04-30T10:00:53.302"/>
  </p1510:revLst>
</p1510:revInfo>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926" autoAdjust="0"/>
    <p:restoredTop sz="96283" autoAdjust="0"/>
  </p:normalViewPr>
  <p:slideViewPr>
    <p:cSldViewPr snapToGrid="0" showGuides="1">
      <p:cViewPr varScale="1">
        <p:scale>
          <a:sx n="75" d="100"/>
          <a:sy n="75" d="100"/>
        </p:scale>
        <p:origin x="96" y="48"/>
      </p:cViewPr>
      <p:guideLst>
        <p:guide pos="3841"/>
        <p:guide orient="horz" pos="33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92" d="100"/>
          <a:sy n="92" d="100"/>
        </p:scale>
        <p:origin x="4008" y="168"/>
      </p:cViewPr>
      <p:guideLst>
        <p:guide orient="horz" pos="2880"/>
        <p:guide pos="2160"/>
      </p:guideLst>
    </p:cSldViewPr>
  </p:notesViewPr>
  <p:gridSpacing cx="936117" cy="936117"/>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font" Target="fonts/font3.fntdata"/><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font" Target="fonts/font11.fntdata"/><Relationship Id="rId42" Type="http://schemas.microsoft.com/office/2018/10/relationships/authors" Target="author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font" Target="fonts/font6.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tags" Target="tags/tag1.xml"/><Relationship Id="rId10" Type="http://schemas.openxmlformats.org/officeDocument/2006/relationships/slideMaster" Target="slideMasters/slideMaster1.xml"/><Relationship Id="rId19" Type="http://schemas.openxmlformats.org/officeDocument/2006/relationships/slide" Target="slides/slide8.xml"/><Relationship Id="rId31" Type="http://schemas.openxmlformats.org/officeDocument/2006/relationships/font" Target="fonts/font8.fntdata"/><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latin typeface="72 Brand" panose="020B0504030603020204" pitchFamily="34" charset="0"/>
              </a:rPr>
              <a:pPr algn="ctr"/>
              <a:t>‹Nr.›</a:t>
            </a:fld>
            <a:endParaRPr lang="de-DE" sz="1000" dirty="0">
              <a:latin typeface="72 Brand" panose="020B0504030603020204" pitchFamily="34" charset="0"/>
            </a:endParaRPr>
          </a:p>
        </p:txBody>
      </p:sp>
    </p:spTree>
    <p:extLst>
      <p:ext uri="{BB962C8B-B14F-4D97-AF65-F5344CB8AC3E}">
        <p14:creationId xmlns:p14="http://schemas.microsoft.com/office/powerpoint/2010/main" val="23599324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47688" y="612775"/>
            <a:ext cx="5762625" cy="324167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549000" y="4120162"/>
            <a:ext cx="5760000" cy="45635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
        <p:nvSpPr>
          <p:cNvPr id="7" name="Slide Number Placeholder 6"/>
          <p:cNvSpPr>
            <a:spLocks noGrp="1"/>
          </p:cNvSpPr>
          <p:nvPr>
            <p:ph type="sldNum" sz="quarter" idx="5"/>
          </p:nvPr>
        </p:nvSpPr>
        <p:spPr>
          <a:xfrm>
            <a:off x="2957512" y="8935722"/>
            <a:ext cx="942976" cy="205358"/>
          </a:xfrm>
          <a:prstGeom prst="rect">
            <a:avLst/>
          </a:prstGeom>
        </p:spPr>
        <p:txBody>
          <a:bodyPr vert="horz" lIns="91440" tIns="45720" rIns="91440" bIns="45720" rtlCol="0" anchor="b"/>
          <a:lstStyle>
            <a:lvl1pPr algn="ctr">
              <a:defRPr sz="800" b="0" i="0">
                <a:latin typeface="72 Brand" panose="020B0504030603020204" pitchFamily="34" charset="0"/>
              </a:defRPr>
            </a:lvl1pPr>
          </a:lstStyle>
          <a:p>
            <a:fld id="{7D8C2C35-2B8A-446E-BEC0-FD36716C29AC}" type="slidenum">
              <a:rPr lang="en-DE" smtClean="0"/>
              <a:pPr/>
              <a:t>‹Nr.›</a:t>
            </a:fld>
            <a:endParaRPr lang="en-DE" dirty="0"/>
          </a:p>
        </p:txBody>
      </p:sp>
    </p:spTree>
    <p:extLst>
      <p:ext uri="{BB962C8B-B14F-4D97-AF65-F5344CB8AC3E}">
        <p14:creationId xmlns:p14="http://schemas.microsoft.com/office/powerpoint/2010/main" val="2847385487"/>
      </p:ext>
    </p:extLst>
  </p:cSld>
  <p:clrMap bg1="lt1" tx1="dk1" bg2="lt2" tx2="dk2" accent1="accent1" accent2="accent2" accent3="accent3" accent4="accent4" accent5="accent5" accent6="accent6" hlink="hlink" folHlink="folHlink"/>
  <p:notesStyle>
    <a:lvl1pPr marL="0" algn="l" defTabSz="1088776" rtl="0" eaLnBrk="1" latinLnBrk="0" hangingPunct="1">
      <a:defRPr sz="1400" b="0" i="0" kern="1200">
        <a:solidFill>
          <a:schemeClr val="tx1"/>
        </a:solidFill>
        <a:latin typeface="72 Brand" panose="020B0504030603020204" pitchFamily="34" charset="0"/>
        <a:ea typeface="+mn-ea"/>
        <a:cs typeface="+mn-cs"/>
      </a:defRPr>
    </a:lvl1pPr>
    <a:lvl2pPr marL="180000" indent="-180000" algn="l" defTabSz="1088776" rtl="0" eaLnBrk="1" latinLnBrk="0" hangingPunct="1">
      <a:buClr>
        <a:schemeClr val="accent1"/>
      </a:buClr>
      <a:buSzPct val="100000"/>
      <a:buFont typeface="Wingdings" pitchFamily="2" charset="2"/>
      <a:buChar char=""/>
      <a:defRPr sz="1400" b="0" i="0" kern="1200">
        <a:solidFill>
          <a:schemeClr val="tx1"/>
        </a:solidFill>
        <a:latin typeface="72 Brand" panose="020B0504030603020204" pitchFamily="34" charset="0"/>
        <a:ea typeface="+mn-ea"/>
        <a:cs typeface="+mn-cs"/>
      </a:defRPr>
    </a:lvl2pPr>
    <a:lvl3pPr marL="360000" indent="-180000" algn="l" defTabSz="1088776" rtl="0" eaLnBrk="1" latinLnBrk="0" hangingPunct="1">
      <a:buClr>
        <a:schemeClr val="accent2"/>
      </a:buClr>
      <a:buSzPct val="80000"/>
      <a:buFont typeface="Symbol" pitchFamily="18" charset="2"/>
      <a:buChar char="-"/>
      <a:defRPr sz="1200" b="0" i="0" kern="1200">
        <a:solidFill>
          <a:schemeClr val="tx1"/>
        </a:solidFill>
        <a:latin typeface="72 Brand" panose="020B0504030603020204" pitchFamily="34" charset="0"/>
        <a:ea typeface="+mn-ea"/>
        <a:cs typeface="+mn-cs"/>
      </a:defRPr>
    </a:lvl3pPr>
    <a:lvl4pPr marL="674815" indent="-158780" algn="l" defTabSz="1088776" rtl="0" eaLnBrk="1" latinLnBrk="0" hangingPunct="1">
      <a:buClr>
        <a:schemeClr val="accent2"/>
      </a:buClr>
      <a:buFont typeface="Arial" pitchFamily="34" charset="0"/>
      <a:buChar char="–"/>
      <a:defRPr sz="12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en-DE" smtClean="0"/>
              <a:pPr/>
              <a:t>1</a:t>
            </a:fld>
            <a:endParaRPr lang="en-DE"/>
          </a:p>
        </p:txBody>
      </p:sp>
    </p:spTree>
    <p:extLst>
      <p:ext uri="{BB962C8B-B14F-4D97-AF65-F5344CB8AC3E}">
        <p14:creationId xmlns:p14="http://schemas.microsoft.com/office/powerpoint/2010/main" val="23636139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179710-5737-9EDE-5FC7-940F1DF6C7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BF90B0-42FC-325E-80EE-F3C45791E0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B26EC2D-EDAB-AFC4-3847-EE9AEF80030E}"/>
              </a:ext>
            </a:extLst>
          </p:cNvPr>
          <p:cNvSpPr>
            <a:spLocks noGrp="1"/>
          </p:cNvSpPr>
          <p:nvPr>
            <p:ph type="body" idx="1"/>
          </p:nvPr>
        </p:nvSpPr>
        <p:spPr/>
        <p:txBody>
          <a:bodyPr>
            <a:normAutofit fontScale="47500" lnSpcReduction="20000"/>
          </a:bodyPr>
          <a:lstStyle/>
          <a:p>
            <a:pPr marL="285750" marR="0" lvl="0" indent="-285750" fontAlgn="auto">
              <a:buClrTx/>
              <a:buSzTx/>
              <a:buFont typeface="Arial" panose="020B0604020202020204" pitchFamily="34" charset="0"/>
              <a:buChar char="•"/>
              <a:tabLst/>
              <a:defRPr/>
            </a:pPr>
            <a:r>
              <a:rPr lang="en-US" sz="2400" dirty="0">
                <a:cs typeface="Arial" panose="020B0604020202020204" pitchFamily="34" charset="0"/>
              </a:rPr>
              <a:t>We have </a:t>
            </a:r>
            <a:r>
              <a:rPr lang="en-US" sz="2400" dirty="0">
                <a:solidFill>
                  <a:srgbClr val="FFFF00"/>
                </a:solidFill>
                <a:cs typeface="Arial" panose="020B0604020202020204" pitchFamily="34" charset="0"/>
              </a:rPr>
              <a:t>chosen a very particular approach </a:t>
            </a:r>
            <a:r>
              <a:rPr lang="en-US" sz="2400" dirty="0">
                <a:cs typeface="Arial" panose="020B0604020202020204" pitchFamily="34" charset="0"/>
              </a:rPr>
              <a:t>to do business AI and provide immense value to our customers. </a:t>
            </a:r>
          </a:p>
          <a:p>
            <a:pPr marL="285750" marR="0" lvl="0" indent="-285750" fontAlgn="auto">
              <a:buClrTx/>
              <a:buSzTx/>
              <a:buFont typeface="Arial" panose="020B0604020202020204" pitchFamily="34" charset="0"/>
              <a:buChar char="•"/>
              <a:tabLst/>
              <a:defRPr/>
            </a:pPr>
            <a:r>
              <a:rPr lang="en-US" sz="2400" dirty="0">
                <a:cs typeface="Arial" panose="020B0604020202020204" pitchFamily="34" charset="0"/>
              </a:rPr>
              <a:t>Our Business AI is </a:t>
            </a:r>
            <a:r>
              <a:rPr lang="en-US" sz="2400" dirty="0">
                <a:solidFill>
                  <a:srgbClr val="FFFF00"/>
                </a:solidFill>
                <a:cs typeface="Arial" panose="020B0604020202020204" pitchFamily="34" charset="0"/>
              </a:rPr>
              <a:t>relevant – reliable – responsible, </a:t>
            </a:r>
            <a:r>
              <a:rPr lang="en-US" sz="2400" dirty="0">
                <a:cs typeface="Arial" panose="020B0604020202020204" pitchFamily="34" charset="0"/>
              </a:rPr>
              <a:t>for your business. </a:t>
            </a:r>
          </a:p>
          <a:p>
            <a:pPr marL="285750" marR="0" lvl="0" indent="-285750" fontAlgn="auto">
              <a:buClrTx/>
              <a:buSzTx/>
              <a:buFont typeface="Arial" panose="020B0604020202020204" pitchFamily="34" charset="0"/>
              <a:buChar char="•"/>
              <a:tabLst/>
              <a:defRPr/>
            </a:pPr>
            <a:endParaRPr lang="en-US" sz="2400" dirty="0">
              <a:cs typeface="Arial" panose="020B0604020202020204" pitchFamily="34" charset="0"/>
            </a:endParaRPr>
          </a:p>
          <a:p>
            <a:pPr marL="285750" marR="0" lvl="0" indent="-285750" fontAlgn="auto">
              <a:buClrTx/>
              <a:buSzTx/>
              <a:buFont typeface="Arial" panose="020B0604020202020204" pitchFamily="34" charset="0"/>
              <a:buChar char="•"/>
              <a:tabLst/>
              <a:defRPr/>
            </a:pPr>
            <a:r>
              <a:rPr lang="en-GB" sz="2400" dirty="0"/>
              <a:t>We are </a:t>
            </a:r>
            <a:r>
              <a:rPr lang="en-GB" sz="2400" dirty="0">
                <a:solidFill>
                  <a:srgbClr val="FFFF00"/>
                </a:solidFill>
              </a:rPr>
              <a:t>reinventing the entire user experience </a:t>
            </a:r>
            <a:r>
              <a:rPr lang="en-GB" sz="2400" dirty="0"/>
              <a:t>of SAP with </a:t>
            </a:r>
            <a:r>
              <a:rPr lang="en-GB" sz="2400" b="1" dirty="0">
                <a:solidFill>
                  <a:srgbClr val="FFFF00"/>
                </a:solidFill>
              </a:rPr>
              <a:t>Joule – our generative AI copilot</a:t>
            </a:r>
            <a:r>
              <a:rPr lang="en-GB" sz="2400" dirty="0">
                <a:solidFill>
                  <a:srgbClr val="FFFF00"/>
                </a:solidFill>
              </a:rPr>
              <a:t>. </a:t>
            </a:r>
            <a:endParaRPr lang="en-US" sz="2400" dirty="0">
              <a:solidFill>
                <a:srgbClr val="FFFF00"/>
              </a:solidFill>
              <a:cs typeface="Arial" panose="020B0604020202020204" pitchFamily="34" charset="0"/>
            </a:endParaRPr>
          </a:p>
          <a:p>
            <a:pPr marL="285750" marR="0" lvl="0" indent="-285750" fontAlgn="auto">
              <a:buClrTx/>
              <a:buSzTx/>
              <a:buFont typeface="Arial" panose="020B0604020202020204" pitchFamily="34" charset="0"/>
              <a:buChar char="•"/>
              <a:tabLst/>
              <a:defRPr/>
            </a:pPr>
            <a:endParaRPr lang="en-US" sz="2400" dirty="0">
              <a:cs typeface="Arial" panose="020B0604020202020204" pitchFamily="34" charset="0"/>
            </a:endParaRPr>
          </a:p>
          <a:p>
            <a:pPr marL="285750" indent="-285750">
              <a:buFont typeface="Arial" panose="020B0604020202020204" pitchFamily="34" charset="0"/>
              <a:buChar char="•"/>
              <a:defRPr/>
            </a:pPr>
            <a:r>
              <a:rPr lang="en-GB" sz="2400" dirty="0">
                <a:cs typeface="Arial" panose="020B0604020202020204" pitchFamily="34" charset="0"/>
              </a:rPr>
              <a:t>We bring AI to where </a:t>
            </a:r>
            <a:r>
              <a:rPr lang="en-GB" sz="2400" dirty="0">
                <a:solidFill>
                  <a:srgbClr val="FFFF00"/>
                </a:solidFill>
                <a:cs typeface="Arial" panose="020B0604020202020204" pitchFamily="34" charset="0"/>
              </a:rPr>
              <a:t>the work is already happening today in form of </a:t>
            </a:r>
            <a:r>
              <a:rPr lang="en-GB" sz="2400" b="1" dirty="0">
                <a:solidFill>
                  <a:srgbClr val="FFFF00"/>
                </a:solidFill>
                <a:cs typeface="Arial" panose="020B0604020202020204" pitchFamily="34" charset="0"/>
              </a:rPr>
              <a:t>embedded AI capabilities</a:t>
            </a:r>
            <a:r>
              <a:rPr lang="en-GB" sz="2400" dirty="0">
                <a:solidFill>
                  <a:srgbClr val="FFFF00"/>
                </a:solidFill>
                <a:cs typeface="Arial" panose="020B0604020202020204" pitchFamily="34" charset="0"/>
              </a:rPr>
              <a:t> </a:t>
            </a:r>
            <a:r>
              <a:rPr lang="en-GB" sz="2400" dirty="0">
                <a:cs typeface="Arial" panose="020B0604020202020204" pitchFamily="34" charset="0"/>
              </a:rPr>
              <a:t>within </a:t>
            </a:r>
            <a:r>
              <a:rPr lang="en-GB" sz="2400" dirty="0">
                <a:solidFill>
                  <a:srgbClr val="FFFF00"/>
                </a:solidFill>
                <a:cs typeface="Arial" panose="020B0604020202020204" pitchFamily="34" charset="0"/>
              </a:rPr>
              <a:t>all your enterprise applications </a:t>
            </a:r>
            <a:r>
              <a:rPr lang="en-GB" sz="2400" dirty="0">
                <a:cs typeface="Arial" panose="020B0604020202020204" pitchFamily="34" charset="0"/>
              </a:rPr>
              <a:t>in Cloud ERP, HCM, Supply Chain, Customer Experience and more.</a:t>
            </a:r>
          </a:p>
          <a:p>
            <a:pPr marL="285750" indent="-285750">
              <a:buFont typeface="Arial" panose="020B0604020202020204" pitchFamily="34" charset="0"/>
              <a:buChar char="•"/>
              <a:defRPr/>
            </a:pPr>
            <a:r>
              <a:rPr lang="en-GB" sz="2400" dirty="0"/>
              <a:t>It is available with a </a:t>
            </a:r>
            <a:r>
              <a:rPr lang="en-GB" sz="2400" dirty="0">
                <a:solidFill>
                  <a:srgbClr val="FFFF00"/>
                </a:solidFill>
              </a:rPr>
              <a:t>click of a button </a:t>
            </a:r>
            <a:r>
              <a:rPr lang="en-GB" sz="2400" dirty="0"/>
              <a:t>and along your </a:t>
            </a:r>
            <a:r>
              <a:rPr lang="en-GB" sz="2400" dirty="0">
                <a:solidFill>
                  <a:srgbClr val="FFFF00"/>
                </a:solidFill>
              </a:rPr>
              <a:t>end-to-end business processes.</a:t>
            </a:r>
            <a:br>
              <a:rPr lang="en-GB" sz="2400" b="0" i="0" u="none" strike="noStrike" dirty="0">
                <a:solidFill>
                  <a:srgbClr val="FFFF00"/>
                </a:solidFill>
                <a:effectLst/>
                <a:latin typeface="Aptos" panose="020B0004020202020204" pitchFamily="34" charset="0"/>
              </a:rPr>
            </a:br>
            <a:endParaRPr lang="en-US" sz="2400" b="0" i="0" u="none" strike="noStrike" dirty="0">
              <a:solidFill>
                <a:srgbClr val="FFFF00"/>
              </a:solidFill>
              <a:effectLst/>
              <a:latin typeface="Aptos" panose="020B0004020202020204" pitchFamily="34" charset="0"/>
            </a:endParaRPr>
          </a:p>
          <a:p>
            <a:pPr marL="285750" indent="-285750">
              <a:buFont typeface="Arial" panose="020B0604020202020204" pitchFamily="34" charset="0"/>
              <a:buChar char="•"/>
              <a:defRPr/>
            </a:pPr>
            <a:r>
              <a:rPr lang="en-US" sz="2400" dirty="0">
                <a:effectLst/>
                <a:latin typeface="Aptos" panose="020B0004020202020204" pitchFamily="34" charset="0"/>
                <a:ea typeface="Times New Roman" panose="02020603050405020304" pitchFamily="18" charset="0"/>
              </a:rPr>
              <a:t>Another element that is essential for SAP’s AI strategy is the </a:t>
            </a:r>
            <a:r>
              <a:rPr lang="en-US" sz="2400" b="1" dirty="0">
                <a:effectLst/>
                <a:latin typeface="Aptos" panose="020B0004020202020204" pitchFamily="34" charset="0"/>
                <a:ea typeface="Times New Roman" panose="02020603050405020304" pitchFamily="18" charset="0"/>
              </a:rPr>
              <a:t>AI Foundation built on the SAP Business Technology Platform</a:t>
            </a:r>
            <a:r>
              <a:rPr lang="en-US" sz="2400" dirty="0">
                <a:effectLst/>
                <a:latin typeface="Aptos" panose="020B0004020202020204" pitchFamily="34" charset="0"/>
                <a:ea typeface="Times New Roman" panose="02020603050405020304" pitchFamily="18" charset="0"/>
              </a:rPr>
              <a:t>.  AI is only as good as the data foundation, and the integration it is based on.  Especially when there is a need for custom AI solutions to meet your business needs.  </a:t>
            </a:r>
          </a:p>
          <a:p>
            <a:pPr marL="285750" indent="-285750">
              <a:buFont typeface="Arial" panose="020B0604020202020204" pitchFamily="34" charset="0"/>
              <a:buChar char="•"/>
              <a:defRPr/>
            </a:pPr>
            <a:r>
              <a:rPr lang="en-US" sz="2400" dirty="0">
                <a:effectLst/>
                <a:latin typeface="Aptos" panose="020B0004020202020204" pitchFamily="34" charset="0"/>
                <a:ea typeface="Times New Roman" panose="02020603050405020304" pitchFamily="18" charset="0"/>
              </a:rPr>
              <a:t>Using </a:t>
            </a:r>
            <a:r>
              <a:rPr lang="en-US" sz="2400" dirty="0" err="1">
                <a:effectLst/>
                <a:latin typeface="Aptos" panose="020B0004020202020204" pitchFamily="34" charset="0"/>
                <a:ea typeface="Times New Roman" panose="02020603050405020304" pitchFamily="18" charset="0"/>
              </a:rPr>
              <a:t>GenAI</a:t>
            </a:r>
            <a:r>
              <a:rPr lang="en-US" sz="2400" dirty="0">
                <a:effectLst/>
                <a:latin typeface="Aptos" panose="020B0004020202020204" pitchFamily="34" charset="0"/>
                <a:ea typeface="Times New Roman" panose="02020603050405020304" pitchFamily="18" charset="0"/>
              </a:rPr>
              <a:t> Hub in AI Foundation in SAP Business Technology Platform, customers and partners can leverage the same applications that SAP uses to build applications and extend capabilities to develop their own AI scenarios within SAP solutions or outside of it.</a:t>
            </a:r>
          </a:p>
          <a:p>
            <a:pPr marL="285750" indent="-285750">
              <a:buFont typeface="Arial" panose="020B0604020202020204" pitchFamily="34" charset="0"/>
              <a:buChar char="•"/>
              <a:defRPr/>
            </a:pPr>
            <a:r>
              <a:rPr lang="en-US" sz="2400" kern="0" dirty="0">
                <a:effectLst/>
                <a:latin typeface="Aptos" panose="020B0004020202020204" pitchFamily="34" charset="0"/>
                <a:ea typeface="Times New Roman" panose="02020603050405020304" pitchFamily="18" charset="0"/>
                <a:cs typeface="Times New Roman" panose="02020603050405020304" pitchFamily="18" charset="0"/>
              </a:rPr>
              <a:t>While the value that SAP provides with its innovative AI solutions is expansive, it is compounded by the offering of our various technology partners. Partner use cases can be implemented at any time with more than 450 partner AI apps currently available.</a:t>
            </a:r>
          </a:p>
          <a:p>
            <a:pPr marL="285750" indent="-285750">
              <a:buFont typeface="Arial" panose="020B0604020202020204" pitchFamily="34" charset="0"/>
              <a:buChar char="•"/>
              <a:defRPr/>
            </a:pPr>
            <a:r>
              <a:rPr lang="en-US" sz="2400" kern="0" dirty="0">
                <a:effectLst/>
                <a:latin typeface="Aptos" panose="020B0004020202020204" pitchFamily="34" charset="0"/>
                <a:ea typeface="Times New Roman" panose="02020603050405020304" pitchFamily="18" charset="0"/>
                <a:cs typeface="Times New Roman" panose="02020603050405020304" pitchFamily="18" charset="0"/>
              </a:rPr>
              <a:t>Additionally, customers and partners can leverage the latest and greatest Large Language Models in a safe and secure environment via Generative AI Hub.</a:t>
            </a:r>
          </a:p>
          <a:p>
            <a:pPr marL="285750" indent="-285750">
              <a:buFont typeface="Arial" panose="020B0604020202020204" pitchFamily="34" charset="0"/>
              <a:buChar char="•"/>
              <a:defRPr/>
            </a:pPr>
            <a:r>
              <a:rPr lang="en-US" sz="2400" kern="0" dirty="0">
                <a:effectLst/>
                <a:latin typeface="Aptos" panose="020B0004020202020204" pitchFamily="34" charset="0"/>
                <a:ea typeface="Times New Roman" panose="02020603050405020304" pitchFamily="18" charset="0"/>
                <a:cs typeface="Times New Roman" panose="02020603050405020304" pitchFamily="18" charset="0"/>
              </a:rPr>
              <a:t>These are the same Large Language Models SAP leverages for it’s Business AI offerings, including Joule.</a:t>
            </a:r>
          </a:p>
          <a:p>
            <a:pPr marL="285750" indent="-285750">
              <a:buFont typeface="Arial" panose="020B0604020202020204" pitchFamily="34" charset="0"/>
              <a:buChar char="•"/>
              <a:defRPr/>
            </a:pPr>
            <a:r>
              <a:rPr lang="en-US" sz="2400" kern="0" dirty="0">
                <a:effectLst/>
                <a:latin typeface="Aptos" panose="020B0004020202020204" pitchFamily="34" charset="0"/>
                <a:ea typeface="Times New Roman" panose="02020603050405020304" pitchFamily="18" charset="0"/>
                <a:cs typeface="Times New Roman" panose="02020603050405020304" pitchFamily="18" charset="0"/>
              </a:rPr>
              <a:t>This partner ecosystem gives SAP the advantage to grow with the quickly changing AI-industry and it’s dynamic Foundation Models.</a:t>
            </a:r>
            <a:endParaRPr lang="en-US" sz="2400" dirty="0">
              <a:effectLst/>
              <a:latin typeface="Times New Roman" panose="02020603050405020304" pitchFamily="18" charset="0"/>
              <a:ea typeface="Times New Roman" panose="02020603050405020304" pitchFamily="18" charset="0"/>
            </a:endParaRPr>
          </a:p>
          <a:p>
            <a:pPr defTabSz="1109463">
              <a:defRPr/>
            </a:pPr>
            <a:endParaRPr lang="en-US" sz="2400" dirty="0"/>
          </a:p>
        </p:txBody>
      </p:sp>
      <p:sp>
        <p:nvSpPr>
          <p:cNvPr id="4" name="Slide Number Placeholder 3">
            <a:extLst>
              <a:ext uri="{FF2B5EF4-FFF2-40B4-BE49-F238E27FC236}">
                <a16:creationId xmlns:a16="http://schemas.microsoft.com/office/drawing/2014/main" id="{25368078-236F-88DD-7A12-45461EADC110}"/>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en-DE" sz="8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a:t>
            </a:fld>
            <a:endParaRPr kumimoji="0" lang="en-DE" sz="8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55087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47FFF6-2194-9D80-5C84-102452E18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D66E7F-D25B-053D-28E5-A972DA0A7E6D}"/>
              </a:ext>
            </a:extLst>
          </p:cNvPr>
          <p:cNvSpPr>
            <a:spLocks noGrp="1" noRot="1" noChangeAspect="1"/>
          </p:cNvSpPr>
          <p:nvPr>
            <p:ph type="sldImg"/>
          </p:nvPr>
        </p:nvSpPr>
        <p:spPr>
          <a:xfrm>
            <a:off x="269875" y="665163"/>
            <a:ext cx="6257925" cy="3519487"/>
          </a:xfrm>
        </p:spPr>
      </p:sp>
      <p:sp>
        <p:nvSpPr>
          <p:cNvPr id="3" name="Notes Placeholder 2">
            <a:extLst>
              <a:ext uri="{FF2B5EF4-FFF2-40B4-BE49-F238E27FC236}">
                <a16:creationId xmlns:a16="http://schemas.microsoft.com/office/drawing/2014/main" id="{6D98A84E-59D1-14FD-7F21-BDAC967B9EDD}"/>
              </a:ext>
            </a:extLst>
          </p:cNvPr>
          <p:cNvSpPr>
            <a:spLocks noGrp="1"/>
          </p:cNvSpPr>
          <p:nvPr>
            <p:ph type="body" idx="1"/>
          </p:nvPr>
        </p:nvSpPr>
        <p:spPr/>
        <p:txBody>
          <a:bodyPr>
            <a:normAutofit/>
          </a:bodyPr>
          <a:lstStyle/>
          <a:p>
            <a:endParaRPr lang="de-DE"/>
          </a:p>
        </p:txBody>
      </p:sp>
      <p:sp>
        <p:nvSpPr>
          <p:cNvPr id="4" name="Slide Number Placeholder 3">
            <a:extLst>
              <a:ext uri="{FF2B5EF4-FFF2-40B4-BE49-F238E27FC236}">
                <a16:creationId xmlns:a16="http://schemas.microsoft.com/office/drawing/2014/main" id="{F1C152D2-B436-1253-5E54-7AF4E08726D6}"/>
              </a:ext>
            </a:extLst>
          </p:cNvPr>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15719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397B2-A9BC-38DA-A00E-F435F1D16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B6FC59-2D5F-ABC0-6AB2-86A07E55EE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42ECFE-983C-24E1-0AD8-62FF02CF4B70}"/>
              </a:ext>
            </a:extLst>
          </p:cNvPr>
          <p:cNvSpPr>
            <a:spLocks noGrp="1"/>
          </p:cNvSpPr>
          <p:nvPr>
            <p:ph type="body" idx="1"/>
          </p:nvPr>
        </p:nvSpPr>
        <p:spPr/>
        <p:txBody>
          <a:bodyPr>
            <a:normAutofit/>
          </a:bodyPr>
          <a:lstStyle/>
          <a:p>
            <a:pPr marL="0" marR="0" lvl="0" indent="0" defTabSz="914400" rtl="0" eaLnBrk="1" fontAlgn="base" latinLnBrk="0" hangingPunct="1">
              <a:lnSpc>
                <a:spcPct val="90000"/>
              </a:lnSpc>
              <a:spcBef>
                <a:spcPts val="1200"/>
              </a:spcBef>
              <a:spcAft>
                <a:spcPct val="0"/>
              </a:spcAft>
              <a:buClr>
                <a:schemeClr val="tx1"/>
              </a:buClr>
              <a:buSzPct val="100000"/>
              <a:buFont typeface="Arial" panose="020B0604020202020204" pitchFamily="34" charset="0"/>
              <a:buNone/>
              <a:tabLst/>
              <a:defRPr/>
            </a:pPr>
            <a:endParaRPr lang="en-DE"/>
          </a:p>
        </p:txBody>
      </p:sp>
      <p:sp>
        <p:nvSpPr>
          <p:cNvPr id="4" name="Slide Number Placeholder 3">
            <a:extLst>
              <a:ext uri="{FF2B5EF4-FFF2-40B4-BE49-F238E27FC236}">
                <a16:creationId xmlns:a16="http://schemas.microsoft.com/office/drawing/2014/main" id="{3E5101A1-C66C-CE47-33CD-EA469AEDC8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0A2583-1A73-7D4A-899D-DB873625B1EB}"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94234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397B2-A9BC-38DA-A00E-F435F1D16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B6FC59-2D5F-ABC0-6AB2-86A07E55EE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42ECFE-983C-24E1-0AD8-62FF02CF4B70}"/>
              </a:ext>
            </a:extLst>
          </p:cNvPr>
          <p:cNvSpPr>
            <a:spLocks noGrp="1"/>
          </p:cNvSpPr>
          <p:nvPr>
            <p:ph type="body" idx="1"/>
          </p:nvPr>
        </p:nvSpPr>
        <p:spPr/>
        <p:txBody>
          <a:bodyPr>
            <a:normAutofit/>
          </a:bodyPr>
          <a:lstStyle/>
          <a:p>
            <a:pPr marL="0" marR="0" lvl="0" indent="0" defTabSz="914400" rtl="0" eaLnBrk="1" fontAlgn="base" latinLnBrk="0" hangingPunct="1">
              <a:lnSpc>
                <a:spcPct val="90000"/>
              </a:lnSpc>
              <a:spcBef>
                <a:spcPts val="1200"/>
              </a:spcBef>
              <a:spcAft>
                <a:spcPct val="0"/>
              </a:spcAft>
              <a:buClr>
                <a:schemeClr val="tx1"/>
              </a:buClr>
              <a:buSzPct val="100000"/>
              <a:buFont typeface="Arial" panose="020B0604020202020204" pitchFamily="34" charset="0"/>
              <a:buNone/>
              <a:tabLst/>
              <a:defRPr/>
            </a:pPr>
            <a:endParaRPr lang="en-DE"/>
          </a:p>
        </p:txBody>
      </p:sp>
      <p:sp>
        <p:nvSpPr>
          <p:cNvPr id="4" name="Slide Number Placeholder 3">
            <a:extLst>
              <a:ext uri="{FF2B5EF4-FFF2-40B4-BE49-F238E27FC236}">
                <a16:creationId xmlns:a16="http://schemas.microsoft.com/office/drawing/2014/main" id="{3E5101A1-C66C-CE47-33CD-EA469AEDC8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0A2583-1A73-7D4A-899D-DB873625B1EB}"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738821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E397B2-A9BC-38DA-A00E-F435F1D164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B6FC59-2D5F-ABC0-6AB2-86A07E55EE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42ECFE-983C-24E1-0AD8-62FF02CF4B70}"/>
              </a:ext>
            </a:extLst>
          </p:cNvPr>
          <p:cNvSpPr>
            <a:spLocks noGrp="1"/>
          </p:cNvSpPr>
          <p:nvPr>
            <p:ph type="body" idx="1"/>
          </p:nvPr>
        </p:nvSpPr>
        <p:spPr/>
        <p:txBody>
          <a:bodyPr>
            <a:normAutofit/>
          </a:bodyPr>
          <a:lstStyle/>
          <a:p>
            <a:pPr marL="0" marR="0" lvl="0" indent="0" defTabSz="914400" rtl="0" eaLnBrk="1" fontAlgn="base" latinLnBrk="0" hangingPunct="1">
              <a:lnSpc>
                <a:spcPct val="90000"/>
              </a:lnSpc>
              <a:spcBef>
                <a:spcPts val="1200"/>
              </a:spcBef>
              <a:spcAft>
                <a:spcPct val="0"/>
              </a:spcAft>
              <a:buClr>
                <a:schemeClr val="tx1"/>
              </a:buClr>
              <a:buSzPct val="100000"/>
              <a:buFont typeface="Arial" panose="020B0604020202020204" pitchFamily="34" charset="0"/>
              <a:buNone/>
              <a:tabLst/>
              <a:defRPr/>
            </a:pPr>
            <a:endParaRPr lang="en-DE"/>
          </a:p>
        </p:txBody>
      </p:sp>
      <p:sp>
        <p:nvSpPr>
          <p:cNvPr id="4" name="Slide Number Placeholder 3">
            <a:extLst>
              <a:ext uri="{FF2B5EF4-FFF2-40B4-BE49-F238E27FC236}">
                <a16:creationId xmlns:a16="http://schemas.microsoft.com/office/drawing/2014/main" id="{3E5101A1-C66C-CE47-33CD-EA469AEDC8F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0A2583-1A73-7D4A-899D-DB873625B1EB}" type="slidenum">
              <a:rPr kumimoji="0" lang="en-D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9634629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C5C71D-694B-EE27-35A6-CC3A9E3AC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9DF624-F67B-FF1B-6879-446ED45F9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EBC328C-E692-910D-78E9-007D456A2005}"/>
              </a:ext>
            </a:extLst>
          </p:cNvPr>
          <p:cNvSpPr>
            <a:spLocks noGrp="1"/>
          </p:cNvSpPr>
          <p:nvPr>
            <p:ph type="body" idx="1"/>
          </p:nvPr>
        </p:nvSpPr>
        <p:spPr/>
        <p:txBody>
          <a:bodyPr/>
          <a:lstStyle/>
          <a:p>
            <a:pPr marL="285750" indent="-285750" rtl="0" fontAlgn="ctr">
              <a:spcBef>
                <a:spcPts val="0"/>
              </a:spcBef>
              <a:spcAft>
                <a:spcPts val="0"/>
              </a:spcAft>
              <a:buFont typeface="Arial" panose="020B0604020202020204" pitchFamily="34" charset="0"/>
              <a:buChar char="•"/>
            </a:pPr>
            <a:endParaRPr lang="de-DE" sz="1800">
              <a:latin typeface="Calibri" panose="020F0502020204030204" pitchFamily="34" charset="0"/>
            </a:endParaRPr>
          </a:p>
        </p:txBody>
      </p:sp>
      <p:sp>
        <p:nvSpPr>
          <p:cNvPr id="4" name="Header Placeholder 3">
            <a:extLst>
              <a:ext uri="{FF2B5EF4-FFF2-40B4-BE49-F238E27FC236}">
                <a16:creationId xmlns:a16="http://schemas.microsoft.com/office/drawing/2014/main" id="{C95A820D-1BA9-B12F-BC69-BAA1DF9D58EE}"/>
              </a:ext>
            </a:extLst>
          </p:cNvPr>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a:extLst>
              <a:ext uri="{FF2B5EF4-FFF2-40B4-BE49-F238E27FC236}">
                <a16:creationId xmlns:a16="http://schemas.microsoft.com/office/drawing/2014/main" id="{22592436-46C8-0E59-6C1D-C0C7E6AAC983}"/>
              </a:ext>
            </a:extLst>
          </p:cNvPr>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anose="020B0502040204020203" pitchFamily="34" charset="0"/>
                <a:ea typeface="+mn-ea"/>
                <a:cs typeface="Segoe UI" pitchFamily="34" charset="0"/>
              </a:rPr>
              <a:t>© Microsoft Corporation. All rights reserved. MICROSOFT MAKES NO WARRANTIES, EXPRESS, IMPLIED OR STATUTORY, AS TO THE INFORMATION IN THIS PRESENTATION.</a:t>
            </a:r>
          </a:p>
        </p:txBody>
      </p:sp>
      <p:sp>
        <p:nvSpPr>
          <p:cNvPr id="6" name="Date Placeholder 5">
            <a:extLst>
              <a:ext uri="{FF2B5EF4-FFF2-40B4-BE49-F238E27FC236}">
                <a16:creationId xmlns:a16="http://schemas.microsoft.com/office/drawing/2014/main" id="{67748FD5-F127-C7B0-EC79-7758436F91E2}"/>
              </a:ext>
            </a:extLst>
          </p:cNvPr>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3709C18-1759-4834-B9A7-2A4A4DEF8FE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30/2025 12:3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a:extLst>
              <a:ext uri="{FF2B5EF4-FFF2-40B4-BE49-F238E27FC236}">
                <a16:creationId xmlns:a16="http://schemas.microsoft.com/office/drawing/2014/main" id="{7461DB2C-22A9-AECD-3C39-700AC87B3E1C}"/>
              </a:ext>
            </a:extLst>
          </p:cNvPr>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339760D-58A6-4F8B-9C20-3902ABE1EB3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2675700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D8C2C35-2B8A-446E-BEC0-FD36716C29AC}" type="slidenum">
              <a:rPr lang="de-DE" smtClean="0"/>
              <a:pPr/>
              <a:t>10</a:t>
            </a:fld>
            <a:endParaRPr lang="de-DE" dirty="0"/>
          </a:p>
        </p:txBody>
      </p:sp>
    </p:spTree>
    <p:extLst>
      <p:ext uri="{BB962C8B-B14F-4D97-AF65-F5344CB8AC3E}">
        <p14:creationId xmlns:p14="http://schemas.microsoft.com/office/powerpoint/2010/main" val="5509721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25.xml"/><Relationship Id="rId4" Type="http://schemas.openxmlformats.org/officeDocument/2006/relationships/image" Target="../media/image6.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250.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51.xml"/><Relationship Id="rId4" Type="http://schemas.openxmlformats.org/officeDocument/2006/relationships/image" Target="../media/image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52.xml"/><Relationship Id="rId4" Type="http://schemas.openxmlformats.org/officeDocument/2006/relationships/image" Target="../media/image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53.xml"/><Relationship Id="rId4" Type="http://schemas.openxmlformats.org/officeDocument/2006/relationships/image" Target="../media/image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54.xml"/><Relationship Id="rId4"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55.xml"/><Relationship Id="rId4"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5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5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58.xml"/><Relationship Id="rId6" Type="http://schemas.openxmlformats.org/officeDocument/2006/relationships/image" Target="../media/image4.bin"/><Relationship Id="rId5" Type="http://schemas.openxmlformats.org/officeDocument/2006/relationships/image" Target="../media/image12.jpe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cover with blue pattern">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69E6551-269A-D225-4CF8-EC6D532E4902}"/>
              </a:ext>
            </a:extLst>
          </p:cNvPr>
          <p:cNvSpPr/>
          <p:nvPr userDrawn="1"/>
        </p:nvSpPr>
        <p:spPr bwMode="gray">
          <a:xfrm>
            <a:off x="0"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4" name="Title"/>
          <p:cNvSpPr>
            <a:spLocks noGrp="1"/>
          </p:cNvSpPr>
          <p:nvPr>
            <p:ph type="title" hasCustomPrompt="1"/>
          </p:nvPr>
        </p:nvSpPr>
        <p:spPr>
          <a:xfrm>
            <a:off x="288000" y="2706317"/>
            <a:ext cx="5441288" cy="997196"/>
          </a:xfrm>
        </p:spPr>
        <p:txBody>
          <a:bodyPr anchor="b" anchorCtr="0">
            <a:noAutofit/>
          </a:bodyPr>
          <a:lstStyle>
            <a:lvl1pPr>
              <a:lnSpc>
                <a:spcPct val="90000"/>
              </a:lnSpc>
              <a:defRPr sz="3600" b="0" i="0">
                <a:latin typeface="+mj-lt"/>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sp>
        <p:nvSpPr>
          <p:cNvPr id="3" name="Picture Placeholder 2">
            <a:extLst>
              <a:ext uri="{FF2B5EF4-FFF2-40B4-BE49-F238E27FC236}">
                <a16:creationId xmlns:a16="http://schemas.microsoft.com/office/drawing/2014/main" id="{DE73D104-EF7E-A0AB-2243-882D65E686E2}"/>
              </a:ext>
            </a:extLst>
          </p:cNvPr>
          <p:cNvSpPr>
            <a:spLocks noGrp="1"/>
          </p:cNvSpPr>
          <p:nvPr>
            <p:ph type="pic" sz="quarter" idx="15" hasCustomPrompt="1"/>
          </p:nvPr>
        </p:nvSpPr>
        <p:spPr>
          <a:xfrm>
            <a:off x="6075363" y="0"/>
            <a:ext cx="6119812" cy="6858000"/>
          </a:xfrm>
        </p:spPr>
        <p:txBody>
          <a:bodyPr anchor="ctr" anchorCtr="0"/>
          <a:lstStyle>
            <a:lvl1pPr algn="ctr">
              <a:defRPr/>
            </a:lvl1pPr>
          </a:lstStyle>
          <a:p>
            <a:r>
              <a:rPr lang="en-US"/>
              <a:t>Click to insert picture</a:t>
            </a:r>
          </a:p>
        </p:txBody>
      </p:sp>
      <p:pic>
        <p:nvPicPr>
          <p:cNvPr id="632886511" name="LogoBlue-Dynamic" descr="{&quot;templafy&quot;:{&quot;id&quot;:&quot;d971cab9-a2e4-458e-bf6b-e91e7db50104&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6" name="Classification-Dynamic" descr="{&quot;templafy&quot;:{&quot;id&quot;:&quot;e89bacae-0287-49a6-bfc4-2ebac8cbcb4f&quot;}}">
            <a:extLst>
              <a:ext uri="{FF2B5EF4-FFF2-40B4-BE49-F238E27FC236}">
                <a16:creationId xmlns:a16="http://schemas.microsoft.com/office/drawing/2014/main" id="{870EB466-B92B-9D4D-974E-A49C0F424152}"/>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dirty="0">
                <a:solidFill>
                  <a:schemeClr val="tx1"/>
                </a:solidFill>
                <a:latin typeface="72 Brand" panose="020B0504030603020204" pitchFamily="34" charset="0"/>
                <a:ea typeface="72 Brand" pitchFamily="34" charset="-128"/>
                <a:cs typeface="72 Brand" pitchFamily="34" charset="-128"/>
              </a:rPr>
              <a:t>PUBLIC</a:t>
            </a:r>
          </a:p>
        </p:txBody>
      </p:sp>
    </p:spTree>
    <p:extLst>
      <p:ext uri="{BB962C8B-B14F-4D97-AF65-F5344CB8AC3E}">
        <p14:creationId xmlns:p14="http://schemas.microsoft.com/office/powerpoint/2010/main" val="198241062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userDrawn="1">
          <p15:clr>
            <a:srgbClr val="FBAE40"/>
          </p15:clr>
        </p15:guide>
        <p15:guide id="2" orient="horz" pos="1701" userDrawn="1">
          <p15:clr>
            <a:srgbClr val="FBAE40"/>
          </p15:clr>
        </p15:guide>
        <p15:guide id="3" orient="horz" pos="2704" userDrawn="1">
          <p15:clr>
            <a:srgbClr val="FBAE40"/>
          </p15:clr>
        </p15:guide>
        <p15:guide id="4" orient="horz" pos="2334" userDrawn="1">
          <p15:clr>
            <a:srgbClr val="FBAE40"/>
          </p15:clr>
        </p15:guide>
        <p15:guide id="5" orient="horz" pos="2999" userDrawn="1">
          <p15:clr>
            <a:srgbClr val="FBAE40"/>
          </p15:clr>
        </p15:guide>
        <p15:guide id="7" orient="horz" pos="414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3090446"/>
            <a:ext cx="11185200" cy="677108"/>
          </a:xfrm>
        </p:spPr>
        <p:txBody>
          <a:bodyPr anchor="ctr"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4109527874"/>
      </p:ext>
    </p:extLst>
  </p:cSld>
  <p:clrMapOvr>
    <a:masterClrMapping/>
  </p:clrMapOvr>
  <p:hf sldNum="0" hdr="0" ftr="0" dt="0"/>
  <p:extLst>
    <p:ext uri="{DCECCB84-F9BA-43D5-87BE-67443E8EF086}">
      <p15:sldGuideLst xmlns:p15="http://schemas.microsoft.com/office/powerpoint/2012/main">
        <p15:guide id="1" pos="314" userDrawn="1">
          <p15:clr>
            <a:srgbClr val="FBAE40"/>
          </p15:clr>
        </p15:guide>
        <p15:guide id="2" orient="horz" pos="2160" userDrawn="1">
          <p15:clr>
            <a:srgbClr val="FBAE40"/>
          </p15:clr>
        </p15:guide>
        <p15:guide id="3" pos="736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5175" cy="3430800"/>
          </a:xfrm>
          <a:noFill/>
        </p:spPr>
        <p:txBody>
          <a:bodyPr tIns="324000"/>
          <a:lstStyle>
            <a:lvl1pPr marL="0" marR="0" indent="0" algn="ctr" defTabSz="1088558"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558"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100898527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4"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4000" y="1375046"/>
            <a:ext cx="11185200" cy="677108"/>
          </a:xfrm>
        </p:spPr>
        <p:txBody>
          <a:bodyPr anchor="t" anchorCtr="0">
            <a:noAutofit/>
          </a:bodyPr>
          <a:lstStyle>
            <a:lvl1pPr>
              <a:defRPr sz="4400" b="0" i="0">
                <a:solidFill>
                  <a:schemeClr val="tx1"/>
                </a:solidFill>
                <a:latin typeface="72 Brand Medium" panose="020B0504030603020204" pitchFamily="34" charset="0"/>
              </a:defRPr>
            </a:lvl1pPr>
          </a:lstStyle>
          <a:p>
            <a:r>
              <a:rPr lang="en-US" dirty="0"/>
              <a:t>Divider page</a:t>
            </a:r>
            <a:endParaRPr lang="de-DE" dirty="0"/>
          </a:p>
        </p:txBody>
      </p:sp>
    </p:spTree>
    <p:extLst>
      <p:ext uri="{BB962C8B-B14F-4D97-AF65-F5344CB8AC3E}">
        <p14:creationId xmlns:p14="http://schemas.microsoft.com/office/powerpoint/2010/main" val="3514533024"/>
      </p:ext>
    </p:extLst>
  </p:cSld>
  <p:clrMapOvr>
    <a:masterClrMapping/>
  </p:clrMapOvr>
  <p:hf sldNum="0" hdr="0" ftr="0" dt="0"/>
  <p:extLst>
    <p:ext uri="{DCECCB84-F9BA-43D5-87BE-67443E8EF086}">
      <p15:sldGuideLst xmlns:p15="http://schemas.microsoft.com/office/powerpoint/2012/main">
        <p15:guide id="1" orient="horz" pos="2160" userDrawn="1">
          <p15:clr>
            <a:srgbClr val="FBAE40"/>
          </p15:clr>
        </p15:guide>
        <p15:guide id="2" pos="7364" userDrawn="1">
          <p15:clr>
            <a:srgbClr val="FBAE40"/>
          </p15:clr>
        </p15:guide>
        <p15:guide id="3" pos="314" userDrawn="1">
          <p15:clr>
            <a:srgbClr val="FBAE40"/>
          </p15:clr>
        </p15:guide>
        <p15:guide id="4" orient="horz" pos="865" userDrawn="1">
          <p15:clr>
            <a:srgbClr val="FBAE40"/>
          </p15:clr>
        </p15:guide>
        <p15:guide id="5" orient="horz" pos="129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lvl1pPr>
              <a:defRPr b="0" i="0">
                <a:latin typeface="72 Brand Medium" panose="020B0504030603020204" pitchFamily="34" charset="0"/>
              </a:defRPr>
            </a:lvl1pPr>
          </a:lstStyle>
          <a:p>
            <a:r>
              <a:rPr lang="en-US" noProof="0" dirty="0"/>
              <a:t>Insert page title (sentence case)</a:t>
            </a:r>
            <a:endParaRPr lang="en-US" dirty="0"/>
          </a:p>
        </p:txBody>
      </p:sp>
    </p:spTree>
    <p:extLst>
      <p:ext uri="{BB962C8B-B14F-4D97-AF65-F5344CB8AC3E}">
        <p14:creationId xmlns:p14="http://schemas.microsoft.com/office/powerpoint/2010/main" val="2466743634"/>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pos="7364" userDrawn="1">
          <p15:clr>
            <a:srgbClr val="FBAE40"/>
          </p15:clr>
        </p15:guide>
        <p15:guide id="4" orient="horz" pos="551" userDrawn="1">
          <p15:clr>
            <a:srgbClr val="FBAE40"/>
          </p15:clr>
        </p15:guide>
        <p15:guide id="5" orient="horz" pos="39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4000" y="1548000"/>
            <a:ext cx="11186477" cy="4787900"/>
          </a:xfrm>
        </p:spPr>
        <p:txBody>
          <a:bodyPr/>
          <a:lstStyle>
            <a:lvl1pPr>
              <a:defRPr/>
            </a:lvl1pPr>
          </a:lstStyle>
          <a:p>
            <a:pPr lvl="0"/>
            <a:r>
              <a:rPr lang="en-GB" dirty="0"/>
              <a:t>Start typing to add text without a bullet point. To add a bullet point, place the cursor at the start of this line and press tab.</a:t>
            </a:r>
            <a:endParaRPr lang="en-US" noProof="0"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0" y="504000"/>
            <a:ext cx="11186476" cy="369332"/>
          </a:xfrm>
        </p:spPr>
        <p:txBody>
          <a:bodyPr/>
          <a:lstStyle>
            <a:lvl1pPr>
              <a:defRPr b="0"/>
            </a:lvl1pPr>
          </a:lstStyle>
          <a:p>
            <a:r>
              <a:rPr lang="en-US" noProof="0" dirty="0"/>
              <a:t>Insert page title (sentence case)</a:t>
            </a:r>
            <a:endParaRPr lang="en-US" dirty="0"/>
          </a:p>
        </p:txBody>
      </p:sp>
    </p:spTree>
    <p:extLst>
      <p:ext uri="{BB962C8B-B14F-4D97-AF65-F5344CB8AC3E}">
        <p14:creationId xmlns:p14="http://schemas.microsoft.com/office/powerpoint/2010/main" val="2129332223"/>
      </p:ext>
    </p:extLst>
  </p:cSld>
  <p:clrMapOvr>
    <a:masterClrMapping/>
  </p:clrMapOvr>
  <p:extLst>
    <p:ext uri="{DCECCB84-F9BA-43D5-87BE-67443E8EF086}">
      <p15:sldGuideLst xmlns:p15="http://schemas.microsoft.com/office/powerpoint/2012/main">
        <p15:guide id="1" pos="312" userDrawn="1">
          <p15:clr>
            <a:srgbClr val="FBAE40"/>
          </p15:clr>
        </p15:guide>
        <p15:guide id="2" orient="horz" pos="3997" userDrawn="1">
          <p15:clr>
            <a:srgbClr val="FBAE40"/>
          </p15:clr>
        </p15:guide>
        <p15:guide id="3" pos="7364" userDrawn="1">
          <p15:clr>
            <a:srgbClr val="FBAE40"/>
          </p15:clr>
        </p15:guide>
        <p15:guide id="4" orient="horz" pos="318" userDrawn="1">
          <p15:clr>
            <a:srgbClr val="FBAE40"/>
          </p15:clr>
        </p15:guide>
        <p15:guide id="5" orient="horz" pos="552" userDrawn="1">
          <p15:clr>
            <a:srgbClr val="FBAE40"/>
          </p15:clr>
        </p15:guide>
        <p15:guide id="6" orient="horz" pos="97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2477" y="1548000"/>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48000"/>
            <a:ext cx="5328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30481451"/>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997" userDrawn="1">
          <p15:clr>
            <a:srgbClr val="FBAE40"/>
          </p15:clr>
        </p15:guide>
        <p15:guide id="3" pos="7364" userDrawn="1">
          <p15:clr>
            <a:srgbClr val="FBAE40"/>
          </p15:clr>
        </p15:guide>
        <p15:guide id="4" pos="3674" userDrawn="1">
          <p15:clr>
            <a:srgbClr val="FBAE40"/>
          </p15:clr>
        </p15:guide>
        <p15:guide id="5" pos="4007" userDrawn="1">
          <p15:clr>
            <a:srgbClr val="FBAE40"/>
          </p15:clr>
        </p15:guide>
        <p15:guide id="6" orient="horz" pos="317" userDrawn="1">
          <p15:clr>
            <a:srgbClr val="FBAE40"/>
          </p15:clr>
        </p15:guide>
        <p15:guide id="7" orient="horz" pos="551" userDrawn="1">
          <p15:clr>
            <a:srgbClr val="FBAE40"/>
          </p15:clr>
        </p15:guide>
        <p15:guide id="8" orient="horz" pos="97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6477" y="1548000"/>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 column 2"/>
          <p:cNvSpPr>
            <a:spLocks noGrp="1"/>
          </p:cNvSpPr>
          <p:nvPr>
            <p:ph type="body" sz="quarter" idx="12" hasCustomPrompt="1"/>
          </p:nvPr>
        </p:nvSpPr>
        <p:spPr>
          <a:xfrm>
            <a:off x="4315238" y="1548000"/>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 column 1"/>
          <p:cNvSpPr>
            <a:spLocks noGrp="1"/>
          </p:cNvSpPr>
          <p:nvPr>
            <p:ph type="body" sz="quarter" idx="10" hasCustomPrompt="1"/>
          </p:nvPr>
        </p:nvSpPr>
        <p:spPr>
          <a:xfrm>
            <a:off x="504000" y="1548000"/>
            <a:ext cx="3564000" cy="47879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866416376"/>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pos="2563" userDrawn="1">
          <p15:clr>
            <a:srgbClr val="FBAE40"/>
          </p15:clr>
        </p15:guide>
        <p15:guide id="4" pos="2717" userDrawn="1">
          <p15:clr>
            <a:srgbClr val="FBAE40"/>
          </p15:clr>
        </p15:guide>
        <p15:guide id="5" pos="4964" userDrawn="1">
          <p15:clr>
            <a:srgbClr val="FBAE40"/>
          </p15:clr>
        </p15:guide>
        <p15:guide id="6" pos="5119" userDrawn="1">
          <p15:clr>
            <a:srgbClr val="FBAE40"/>
          </p15:clr>
        </p15:guide>
        <p15:guide id="7" pos="7364" userDrawn="1">
          <p15:clr>
            <a:srgbClr val="FBAE40"/>
          </p15:clr>
        </p15:guide>
        <p15:guide id="8" orient="horz" pos="551" userDrawn="1">
          <p15:clr>
            <a:srgbClr val="FBAE40"/>
          </p15:clr>
        </p15:guide>
        <p15:guide id="9" orient="horz" pos="974" userDrawn="1">
          <p15:clr>
            <a:srgbClr val="FBAE40"/>
          </p15:clr>
        </p15:guide>
        <p15:guide id="10" orient="horz" pos="39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2477"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2"/>
          <p:cNvSpPr>
            <a:spLocks noGrp="1"/>
          </p:cNvSpPr>
          <p:nvPr>
            <p:ph type="pic" sz="quarter" idx="14" hasCustomPrompt="1"/>
          </p:nvPr>
        </p:nvSpPr>
        <p:spPr bwMode="gray">
          <a:xfrm>
            <a:off x="6362477"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770000"/>
            <a:ext cx="5328000" cy="1575238"/>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48000"/>
            <a:ext cx="5328000" cy="279259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504941297"/>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orient="horz" pos="551" userDrawn="1">
          <p15:clr>
            <a:srgbClr val="FBAE40"/>
          </p15:clr>
        </p15:guide>
        <p15:guide id="4" orient="horz" pos="974" userDrawn="1">
          <p15:clr>
            <a:srgbClr val="FBAE40"/>
          </p15:clr>
        </p15:guide>
        <p15:guide id="5" orient="horz" pos="2750" userDrawn="1">
          <p15:clr>
            <a:srgbClr val="FBAE40"/>
          </p15:clr>
        </p15:guide>
        <p15:guide id="6" orient="horz" pos="3004" userDrawn="1">
          <p15:clr>
            <a:srgbClr val="FBAE40"/>
          </p15:clr>
        </p15:guide>
        <p15:guide id="7" orient="horz" pos="3997" userDrawn="1">
          <p15:clr>
            <a:srgbClr val="FBAE40"/>
          </p15:clr>
        </p15:guide>
        <p15:guide id="8" pos="3682" userDrawn="1">
          <p15:clr>
            <a:srgbClr val="FBAE40"/>
          </p15:clr>
        </p15:guide>
        <p15:guide id="9" pos="4000" userDrawn="1">
          <p15:clr>
            <a:srgbClr val="FBAE40"/>
          </p15:clr>
        </p15:guide>
        <p15:guide id="10" pos="736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9277"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3"/>
          <p:cNvSpPr>
            <a:spLocks noGrp="1"/>
          </p:cNvSpPr>
          <p:nvPr>
            <p:ph type="pic" sz="quarter" idx="14" hasCustomPrompt="1"/>
          </p:nvPr>
        </p:nvSpPr>
        <p:spPr bwMode="gray">
          <a:xfrm>
            <a:off x="8299277"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2"/>
          <p:cNvSpPr>
            <a:spLocks noGrp="1"/>
          </p:cNvSpPr>
          <p:nvPr>
            <p:ph type="body" sz="quarter" idx="15" hasCustomPrompt="1"/>
          </p:nvPr>
        </p:nvSpPr>
        <p:spPr>
          <a:xfrm>
            <a:off x="4401639"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2"/>
          <p:cNvSpPr>
            <a:spLocks noGrp="1"/>
          </p:cNvSpPr>
          <p:nvPr>
            <p:ph type="pic" sz="quarter" idx="16" hasCustomPrompt="1"/>
          </p:nvPr>
        </p:nvSpPr>
        <p:spPr bwMode="gray">
          <a:xfrm>
            <a:off x="4401639"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1"/>
          <p:cNvSpPr>
            <a:spLocks noGrp="1"/>
          </p:cNvSpPr>
          <p:nvPr>
            <p:ph type="body" sz="quarter" idx="10" hasCustomPrompt="1"/>
          </p:nvPr>
        </p:nvSpPr>
        <p:spPr>
          <a:xfrm>
            <a:off x="504000" y="4354921"/>
            <a:ext cx="3391200" cy="1981079"/>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1"/>
          <p:cNvSpPr>
            <a:spLocks noGrp="1"/>
          </p:cNvSpPr>
          <p:nvPr>
            <p:ph type="pic" sz="quarter" idx="12" hasCustomPrompt="1"/>
          </p:nvPr>
        </p:nvSpPr>
        <p:spPr bwMode="gray">
          <a:xfrm>
            <a:off x="504000" y="1548000"/>
            <a:ext cx="3391200" cy="2294662"/>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727667599"/>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pos="2455" userDrawn="1">
          <p15:clr>
            <a:srgbClr val="FBAE40"/>
          </p15:clr>
        </p15:guide>
        <p15:guide id="4" pos="2773" userDrawn="1">
          <p15:clr>
            <a:srgbClr val="FBAE40"/>
          </p15:clr>
        </p15:guide>
        <p15:guide id="5" pos="4910" userDrawn="1">
          <p15:clr>
            <a:srgbClr val="FBAE40"/>
          </p15:clr>
        </p15:guide>
        <p15:guide id="6" pos="5227" userDrawn="1">
          <p15:clr>
            <a:srgbClr val="FBAE40"/>
          </p15:clr>
        </p15:guide>
        <p15:guide id="7" pos="7364" userDrawn="1">
          <p15:clr>
            <a:srgbClr val="FBAE40"/>
          </p15:clr>
        </p15:guide>
        <p15:guide id="8" orient="horz" pos="551" userDrawn="1">
          <p15:clr>
            <a:srgbClr val="FBAE40"/>
          </p15:clr>
        </p15:guide>
        <p15:guide id="9" orient="horz" pos="970" userDrawn="1">
          <p15:clr>
            <a:srgbClr val="FBAE40"/>
          </p15:clr>
        </p15:guide>
        <p15:guide id="10" orient="horz" pos="2428" userDrawn="1">
          <p15:clr>
            <a:srgbClr val="FBAE40"/>
          </p15:clr>
        </p15:guide>
        <p15:guide id="11" orient="horz" pos="2743" userDrawn="1">
          <p15:clr>
            <a:srgbClr val="FBAE40"/>
          </p15:clr>
        </p15:guide>
        <p15:guide id="12" orient="horz" pos="399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17" name="Text placeholder - column 2"/>
          <p:cNvSpPr>
            <a:spLocks noGrp="1"/>
          </p:cNvSpPr>
          <p:nvPr>
            <p:ph type="body" sz="quarter" idx="13" hasCustomPrompt="1"/>
          </p:nvPr>
        </p:nvSpPr>
        <p:spPr>
          <a:xfrm>
            <a:off x="9274877" y="387720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8" name="Picture Placeholder 4"/>
          <p:cNvSpPr>
            <a:spLocks noGrp="1"/>
          </p:cNvSpPr>
          <p:nvPr>
            <p:ph type="pic" sz="quarter" idx="14" hasCustomPrompt="1"/>
          </p:nvPr>
        </p:nvSpPr>
        <p:spPr bwMode="gray">
          <a:xfrm>
            <a:off x="9274877"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13" name="Text placeholder - column 2"/>
          <p:cNvSpPr>
            <a:spLocks noGrp="1"/>
          </p:cNvSpPr>
          <p:nvPr>
            <p:ph type="body" sz="quarter" idx="17" hasCustomPrompt="1"/>
          </p:nvPr>
        </p:nvSpPr>
        <p:spPr>
          <a:xfrm>
            <a:off x="6351252" y="387720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4" name="Picture Placeholder 4"/>
          <p:cNvSpPr>
            <a:spLocks noGrp="1"/>
          </p:cNvSpPr>
          <p:nvPr>
            <p:ph type="pic" sz="quarter" idx="18" hasCustomPrompt="1"/>
          </p:nvPr>
        </p:nvSpPr>
        <p:spPr bwMode="gray">
          <a:xfrm>
            <a:off x="6351252"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9" name="Text placeholder - column 2"/>
          <p:cNvSpPr>
            <a:spLocks noGrp="1"/>
          </p:cNvSpPr>
          <p:nvPr>
            <p:ph type="body" sz="quarter" idx="15" hasCustomPrompt="1"/>
          </p:nvPr>
        </p:nvSpPr>
        <p:spPr>
          <a:xfrm>
            <a:off x="3427626" y="387720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10" name="Picture Placeholder 4"/>
          <p:cNvSpPr>
            <a:spLocks noGrp="1"/>
          </p:cNvSpPr>
          <p:nvPr>
            <p:ph type="pic" sz="quarter" idx="16" hasCustomPrompt="1"/>
          </p:nvPr>
        </p:nvSpPr>
        <p:spPr bwMode="gray">
          <a:xfrm>
            <a:off x="3427626"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3" name="Text placeholder - column 2"/>
          <p:cNvSpPr>
            <a:spLocks noGrp="1"/>
          </p:cNvSpPr>
          <p:nvPr>
            <p:ph type="body" sz="quarter" idx="10" hasCustomPrompt="1"/>
          </p:nvPr>
        </p:nvSpPr>
        <p:spPr>
          <a:xfrm>
            <a:off x="504000" y="3877200"/>
            <a:ext cx="2415600" cy="2457780"/>
          </a:xfrm>
        </p:spPr>
        <p:txBody>
          <a:bodyPr/>
          <a:lstStyle>
            <a:lvl1pPr>
              <a:spcBef>
                <a:spcPts val="600"/>
              </a:spcBef>
              <a:defRPr sz="1800"/>
            </a:lvl1pPr>
            <a:lvl2pPr>
              <a:defRPr sz="1600"/>
            </a:lvl2pPr>
            <a:lvl3pPr>
              <a:defRPr sz="1400"/>
            </a:lvl3pPr>
          </a:lstStyle>
          <a:p>
            <a:pPr lvl="0"/>
            <a:r>
              <a:rPr lang="en-US" noProof="0" dirty="0"/>
              <a:t>First level</a:t>
            </a:r>
          </a:p>
          <a:p>
            <a:pPr lvl="1"/>
            <a:r>
              <a:rPr lang="en-US" dirty="0"/>
              <a:t>Second level</a:t>
            </a:r>
          </a:p>
          <a:p>
            <a:pPr lvl="2"/>
            <a:r>
              <a:rPr lang="en-US" dirty="0"/>
              <a:t>Third level</a:t>
            </a:r>
          </a:p>
        </p:txBody>
      </p:sp>
      <p:sp>
        <p:nvSpPr>
          <p:cNvPr id="5" name="Picture Placeholder 4"/>
          <p:cNvSpPr>
            <a:spLocks noGrp="1"/>
          </p:cNvSpPr>
          <p:nvPr>
            <p:ph type="pic" sz="quarter" idx="12" hasCustomPrompt="1"/>
          </p:nvPr>
        </p:nvSpPr>
        <p:spPr bwMode="gray">
          <a:xfrm>
            <a:off x="504000" y="1548000"/>
            <a:ext cx="2415600" cy="1871663"/>
          </a:xfrm>
          <a:noFill/>
        </p:spPr>
        <p:txBody>
          <a:bodyPr vert="horz" lIns="0" tIns="180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 or pictogram</a:t>
            </a:r>
            <a:endParaRPr lang="de-DE" dirty="0"/>
          </a:p>
        </p:txBody>
      </p:sp>
      <p:sp>
        <p:nvSpPr>
          <p:cNvPr id="2"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2680594478"/>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orient="horz" pos="551" userDrawn="1">
          <p15:clr>
            <a:srgbClr val="FBAE40"/>
          </p15:clr>
        </p15:guide>
        <p15:guide id="4" orient="horz" pos="974" userDrawn="1">
          <p15:clr>
            <a:srgbClr val="FBAE40"/>
          </p15:clr>
        </p15:guide>
        <p15:guide id="5" orient="horz" pos="2160" userDrawn="1">
          <p15:clr>
            <a:srgbClr val="FBAE40"/>
          </p15:clr>
        </p15:guide>
        <p15:guide id="6" orient="horz" pos="2442" userDrawn="1">
          <p15:clr>
            <a:srgbClr val="FBAE40"/>
          </p15:clr>
        </p15:guide>
        <p15:guide id="7" orient="horz" pos="3990" userDrawn="1">
          <p15:clr>
            <a:srgbClr val="FBAE40"/>
          </p15:clr>
        </p15:guide>
        <p15:guide id="8" pos="1840" userDrawn="1">
          <p15:clr>
            <a:srgbClr val="FBAE40"/>
          </p15:clr>
        </p15:guide>
        <p15:guide id="9" pos="2159" userDrawn="1">
          <p15:clr>
            <a:srgbClr val="FBAE40"/>
          </p15:clr>
        </p15:guide>
        <p15:guide id="10" pos="3683" userDrawn="1">
          <p15:clr>
            <a:srgbClr val="FBAE40"/>
          </p15:clr>
        </p15:guide>
        <p15:guide id="11" pos="4000" userDrawn="1">
          <p15:clr>
            <a:srgbClr val="FBAE40"/>
          </p15:clr>
        </p15:guide>
        <p15:guide id="12" pos="5525" userDrawn="1">
          <p15:clr>
            <a:srgbClr val="FBAE40"/>
          </p15:clr>
        </p15:guide>
        <p15:guide id="13" pos="5842" userDrawn="1">
          <p15:clr>
            <a:srgbClr val="FBAE40"/>
          </p15:clr>
        </p15:guide>
        <p15:guide id="14" pos="736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F6B4F408-95BC-730E-4114-45641ED46491}"/>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Title"/>
          <p:cNvSpPr>
            <a:spLocks noGrp="1"/>
          </p:cNvSpPr>
          <p:nvPr>
            <p:ph type="title" hasCustomPrompt="1"/>
          </p:nvPr>
        </p:nvSpPr>
        <p:spPr>
          <a:xfrm>
            <a:off x="288000" y="4024430"/>
            <a:ext cx="10899174" cy="997196"/>
          </a:xfrm>
        </p:spPr>
        <p:txBody>
          <a:bodyPr vert="horz" wrap="square" lIns="0" tIns="0" rIns="0" bIns="0" rtlCol="0">
            <a:noAutofit/>
          </a:bodyPr>
          <a:lstStyle>
            <a:lvl1pPr>
              <a:lnSpc>
                <a:spcPct val="90000"/>
              </a:lnSpc>
              <a:defRPr lang="de-DE" sz="3600" b="0" i="0" dirty="0">
                <a:latin typeface="72 Brand Medium" panose="020B0504030603020204" pitchFamily="34" charset="0"/>
                <a:ea typeface="+mn-ea"/>
                <a:cs typeface="+mn-cs"/>
              </a:defRPr>
            </a:lvl1pPr>
          </a:lstStyle>
          <a:p>
            <a:pPr lvl="0"/>
            <a:r>
              <a:rPr lang="en-US" dirty="0"/>
              <a:t>Title Goes Here</a:t>
            </a:r>
            <a:br>
              <a:rPr lang="en-US" dirty="0"/>
            </a:br>
            <a:r>
              <a:rPr lang="en-US" dirty="0"/>
              <a:t>and Here and Here</a:t>
            </a:r>
          </a:p>
        </p:txBody>
      </p:sp>
      <p:sp>
        <p:nvSpPr>
          <p:cNvPr id="7" name="Picture Placeholder 6">
            <a:extLst>
              <a:ext uri="{FF2B5EF4-FFF2-40B4-BE49-F238E27FC236}">
                <a16:creationId xmlns:a16="http://schemas.microsoft.com/office/drawing/2014/main" id="{4FA78832-C268-4EC5-BB82-7F9D7F5B51B2}"/>
              </a:ext>
            </a:extLst>
          </p:cNvPr>
          <p:cNvSpPr>
            <a:spLocks noGrp="1"/>
          </p:cNvSpPr>
          <p:nvPr>
            <p:ph type="pic" sz="quarter" idx="16" hasCustomPrompt="1"/>
          </p:nvPr>
        </p:nvSpPr>
        <p:spPr>
          <a:xfrm>
            <a:off x="0" y="-1"/>
            <a:ext cx="12195175" cy="3430800"/>
          </a:xfrm>
        </p:spPr>
        <p:txBody>
          <a:bodyPr anchor="ctr" anchorCtr="0"/>
          <a:lstStyle>
            <a:lvl1pPr marL="0" marR="0" indent="0" algn="ctr" defTabSz="1088558" rtl="0" eaLnBrk="1" fontAlgn="auto" latinLnBrk="0" hangingPunct="1">
              <a:lnSpc>
                <a:spcPct val="100000"/>
              </a:lnSpc>
              <a:spcBef>
                <a:spcPts val="1800"/>
              </a:spcBef>
              <a:spcAft>
                <a:spcPts val="0"/>
              </a:spcAft>
              <a:buClr>
                <a:schemeClr val="accent1"/>
              </a:buClr>
              <a:buSzPct val="80000"/>
              <a:buFontTx/>
              <a:buNone/>
              <a:tabLst/>
              <a:defRPr/>
            </a:lvl1pPr>
          </a:lstStyle>
          <a:p>
            <a:pPr marL="0" marR="0" lvl="0" indent="0" algn="ctr" defTabSz="1088558" rtl="0" eaLnBrk="1" fontAlgn="auto" latinLnBrk="0" hangingPunct="1">
              <a:lnSpc>
                <a:spcPct val="100000"/>
              </a:lnSpc>
              <a:spcBef>
                <a:spcPts val="1800"/>
              </a:spcBef>
              <a:spcAft>
                <a:spcPts val="0"/>
              </a:spcAft>
              <a:buClr>
                <a:schemeClr val="accent1"/>
              </a:buClr>
              <a:buSzPct val="80000"/>
              <a:buFontTx/>
              <a:buNone/>
              <a:tabLst/>
              <a:defRPr/>
            </a:pPr>
            <a:r>
              <a:rPr lang="en-US"/>
              <a:t>Click to insert picture</a:t>
            </a:r>
          </a:p>
        </p:txBody>
      </p:sp>
      <p:pic>
        <p:nvPicPr>
          <p:cNvPr id="1671955224" name="LogoBlue-Dynamic" descr="{&quot;templafy&quot;:{&quot;id&quot;:&quot;f6dc417b-1022-45e0-acb5-d55545b733bd&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6218600"/>
            <a:ext cx="2976807" cy="360000"/>
          </a:xfrm>
          <a:prstGeom prst="rect">
            <a:avLst/>
          </a:prstGeom>
        </p:spPr>
      </p:pic>
      <p:sp>
        <p:nvSpPr>
          <p:cNvPr id="9" name="Classification-Dynamic" descr="{&quot;templafy&quot;:{&quot;id&quot;:&quot;18e374b5-ab96-485e-9143-576d9c090cd5&quot;}}">
            <a:extLst>
              <a:ext uri="{FF2B5EF4-FFF2-40B4-BE49-F238E27FC236}">
                <a16:creationId xmlns:a16="http://schemas.microsoft.com/office/drawing/2014/main" id="{CE0C2033-6FDF-7DD6-E25C-C03296FDAD00}"/>
              </a:ext>
            </a:extLst>
          </p:cNvPr>
          <p:cNvSpPr txBox="1"/>
          <p:nvPr userDrawn="1"/>
        </p:nvSpPr>
        <p:spPr>
          <a:xfrm>
            <a:off x="282575" y="572400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21838505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4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4000" y="1800000"/>
            <a:ext cx="11185200" cy="3285032"/>
          </a:xfrm>
        </p:spPr>
        <p:txBody>
          <a:bodyPr/>
          <a:lstStyle>
            <a:lvl1pPr marL="395921" indent="-395921">
              <a:lnSpc>
                <a:spcPct val="90000"/>
              </a:lnSpc>
              <a:spcBef>
                <a:spcPts val="600"/>
              </a:spcBef>
              <a:defRPr sz="5999" b="0" i="0">
                <a:latin typeface="72 Brand Medium" panose="020B0504030603020204" pitchFamily="34" charset="0"/>
              </a:defRPr>
            </a:lvl1pPr>
            <a:lvl2pPr marL="395921" indent="0">
              <a:buNone/>
              <a:defRPr sz="1600"/>
            </a:lvl2pPr>
          </a:lstStyle>
          <a:p>
            <a:pPr lvl="0"/>
            <a:r>
              <a:rPr lang="en-US" noProof="0" dirty="0"/>
              <a:t>“Quote goes here </a:t>
            </a:r>
            <a:br>
              <a:rPr lang="en-US" noProof="0" dirty="0"/>
            </a:br>
            <a:r>
              <a:rPr lang="en-US" noProof="0" dirty="0"/>
              <a:t>and here.”</a:t>
            </a:r>
          </a:p>
          <a:p>
            <a:pPr lvl="1"/>
            <a:r>
              <a:rPr lang="en-US" noProof="0" dirty="0"/>
              <a:t>Source</a:t>
            </a:r>
          </a:p>
        </p:txBody>
      </p:sp>
    </p:spTree>
    <p:extLst>
      <p:ext uri="{BB962C8B-B14F-4D97-AF65-F5344CB8AC3E}">
        <p14:creationId xmlns:p14="http://schemas.microsoft.com/office/powerpoint/2010/main" val="932785900"/>
      </p:ext>
    </p:extLst>
  </p:cSld>
  <p:clrMapOvr>
    <a:masterClrMapping/>
  </p:clrMapOvr>
  <p:extLst>
    <p:ext uri="{DCECCB84-F9BA-43D5-87BE-67443E8EF086}">
      <p15:sldGuideLst xmlns:p15="http://schemas.microsoft.com/office/powerpoint/2012/main">
        <p15:guide id="1" pos="314" userDrawn="1">
          <p15:clr>
            <a:srgbClr val="FBAE40"/>
          </p15:clr>
        </p15:guide>
        <p15:guide id="4" orient="horz" pos="1132" userDrawn="1">
          <p15:clr>
            <a:srgbClr val="FBAE40"/>
          </p15:clr>
        </p15:guide>
        <p15:guide id="5" orient="horz" pos="3204" userDrawn="1">
          <p15:clr>
            <a:srgbClr val="FBAE40"/>
          </p15:clr>
        </p15:guide>
        <p15:guide id="6" pos="736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7175" y="0"/>
            <a:ext cx="4068000"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
        <p:nvSpPr>
          <p:cNvPr id="7" name="Text Placeholder"/>
          <p:cNvSpPr>
            <a:spLocks noGrp="1"/>
          </p:cNvSpPr>
          <p:nvPr>
            <p:ph type="body" sz="quarter" idx="11" hasCustomPrompt="1"/>
          </p:nvPr>
        </p:nvSpPr>
        <p:spPr bwMode="black">
          <a:xfrm>
            <a:off x="503999" y="1548000"/>
            <a:ext cx="7092000"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3" name="Title"/>
          <p:cNvSpPr>
            <a:spLocks noGrp="1"/>
          </p:cNvSpPr>
          <p:nvPr>
            <p:ph type="title" hasCustomPrompt="1"/>
          </p:nvPr>
        </p:nvSpPr>
        <p:spPr>
          <a:xfrm>
            <a:off x="504001" y="504000"/>
            <a:ext cx="7092000"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3425020262"/>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991" userDrawn="1">
          <p15:clr>
            <a:srgbClr val="FBAE40"/>
          </p15:clr>
        </p15:guide>
        <p15:guide id="3" pos="4786" userDrawn="1">
          <p15:clr>
            <a:srgbClr val="FBAE40"/>
          </p15:clr>
        </p15:guide>
        <p15:guide id="4" pos="5111" userDrawn="1">
          <p15:clr>
            <a:srgbClr val="FBAE40"/>
          </p15:clr>
        </p15:guide>
        <p15:guide id="5" orient="horz" pos="317" userDrawn="1">
          <p15:clr>
            <a:srgbClr val="FBAE40"/>
          </p15:clr>
        </p15:guide>
        <p15:guide id="6" orient="horz" pos="551" userDrawn="1">
          <p15:clr>
            <a:srgbClr val="FBAE40"/>
          </p15:clr>
        </p15:guide>
        <p15:guide id="7" orient="horz" pos="97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5175" cy="6858000"/>
          </a:xfrm>
          <a:noFill/>
        </p:spPr>
        <p:txBody>
          <a:bodyPr vert="horz" lIns="0" tIns="2448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image</a:t>
            </a:r>
            <a:endParaRPr lang="de-DE" dirty="0"/>
          </a:p>
        </p:txBody>
      </p:sp>
    </p:spTree>
    <p:extLst>
      <p:ext uri="{BB962C8B-B14F-4D97-AF65-F5344CB8AC3E}">
        <p14:creationId xmlns:p14="http://schemas.microsoft.com/office/powerpoint/2010/main" val="4139791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2477" y="1557338"/>
            <a:ext cx="5328000" cy="4788000"/>
          </a:xfrm>
          <a:noFill/>
        </p:spPr>
        <p:txBody>
          <a:bodyPr vert="horz" lIns="0" tIns="1512000" rIns="0" bIns="0" rtlCol="0" anchor="t" anchorCtr="0">
            <a:noAutofit/>
          </a:bodyPr>
          <a:lstStyle>
            <a:lvl1pPr marL="0" indent="0" algn="ctr" defTabSz="1088558" rtl="0" eaLnBrk="1" latinLnBrk="0" hangingPunct="1">
              <a:spcBef>
                <a:spcPts val="1929"/>
              </a:spcBef>
              <a:buClr>
                <a:schemeClr val="accent1"/>
              </a:buClr>
              <a:buSzPct val="80000"/>
              <a:buFontTx/>
              <a:buNone/>
              <a:defRPr lang="de-DE" sz="1600" b="0" i="0" kern="1200" dirty="0">
                <a:solidFill>
                  <a:schemeClr val="tx1"/>
                </a:solidFill>
                <a:latin typeface="72 Brand" panose="020B0504030603020204" pitchFamily="34" charset="0"/>
                <a:ea typeface="+mn-ea"/>
                <a:cs typeface="+mn-cs"/>
              </a:defRPr>
            </a:lvl1pPr>
          </a:lstStyle>
          <a:p>
            <a:r>
              <a:rPr lang="en-US" dirty="0"/>
              <a:t>Click icon to add screenshot</a:t>
            </a:r>
            <a:endParaRPr lang="de-DE" dirty="0"/>
          </a:p>
        </p:txBody>
      </p:sp>
      <p:sp>
        <p:nvSpPr>
          <p:cNvPr id="4" name="Text Placeholder"/>
          <p:cNvSpPr>
            <a:spLocks noGrp="1"/>
          </p:cNvSpPr>
          <p:nvPr>
            <p:ph type="body" sz="quarter" idx="10" hasCustomPrompt="1"/>
          </p:nvPr>
        </p:nvSpPr>
        <p:spPr>
          <a:xfrm>
            <a:off x="504000" y="1548000"/>
            <a:ext cx="5328000" cy="4788000"/>
          </a:xfrm>
        </p:spPr>
        <p:txBody>
          <a:bodyPr/>
          <a:lstStyle>
            <a:lvl1pPr>
              <a:defRPr/>
            </a:lvl1pPr>
          </a:lstStyle>
          <a:p>
            <a:pPr lvl="0"/>
            <a:r>
              <a:rPr lang="en-US" noProof="0"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p:cNvSpPr>
            <a:spLocks noGrp="1"/>
          </p:cNvSpPr>
          <p:nvPr>
            <p:ph type="title" hasCustomPrompt="1"/>
          </p:nvPr>
        </p:nvSpPr>
        <p:spPr>
          <a:xfrm>
            <a:off x="504001" y="504000"/>
            <a:ext cx="11186476" cy="369332"/>
          </a:xfrm>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287227243"/>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972" userDrawn="1">
          <p15:clr>
            <a:srgbClr val="FBAE40"/>
          </p15:clr>
        </p15:guide>
        <p15:guide id="3" pos="3674" userDrawn="1">
          <p15:clr>
            <a:srgbClr val="FBAE40"/>
          </p15:clr>
        </p15:guide>
        <p15:guide id="4" pos="4008" userDrawn="1">
          <p15:clr>
            <a:srgbClr val="FBAE40"/>
          </p15:clr>
        </p15:guide>
        <p15:guide id="5" pos="7364" userDrawn="1">
          <p15:clr>
            <a:srgbClr val="FBAE40"/>
          </p15:clr>
        </p15:guide>
        <p15:guide id="6" orient="horz" pos="317" userDrawn="1">
          <p15:clr>
            <a:srgbClr val="FBAE40"/>
          </p15:clr>
        </p15:guide>
        <p15:guide id="7" orient="horz" pos="551" userDrawn="1">
          <p15:clr>
            <a:srgbClr val="FBAE40"/>
          </p15:clr>
        </p15:guide>
        <p15:guide id="8" orient="horz" pos="3991"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4000" y="1548000"/>
            <a:ext cx="11185200" cy="4788000"/>
          </a:xfrm>
          <a:noFill/>
        </p:spPr>
        <p:txBody>
          <a:bodyPr tIns="1368000"/>
          <a:lstStyle>
            <a:lvl1pPr algn="ctr">
              <a:defRPr sz="1400" b="0"/>
            </a:lvl1pPr>
          </a:lstStyle>
          <a:p>
            <a:pPr lvl="0"/>
            <a:r>
              <a:rPr lang="en-US" dirty="0"/>
              <a:t>Click to add content</a:t>
            </a:r>
          </a:p>
        </p:txBody>
      </p:sp>
      <p:sp>
        <p:nvSpPr>
          <p:cNvPr id="2"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4186098743"/>
      </p:ext>
    </p:extLst>
  </p:cSld>
  <p:clrMapOvr>
    <a:masterClrMapping/>
  </p:clrMapOvr>
  <p:extLst>
    <p:ext uri="{DCECCB84-F9BA-43D5-87BE-67443E8EF086}">
      <p15:sldGuideLst xmlns:p15="http://schemas.microsoft.com/office/powerpoint/2012/main">
        <p15:guide id="1" pos="314" userDrawn="1">
          <p15:clr>
            <a:srgbClr val="FBAE40"/>
          </p15:clr>
        </p15:guide>
        <p15:guide id="2" orient="horz" pos="317" userDrawn="1">
          <p15:clr>
            <a:srgbClr val="FBAE40"/>
          </p15:clr>
        </p15:guide>
        <p15:guide id="3" orient="horz" pos="551" userDrawn="1">
          <p15:clr>
            <a:srgbClr val="FBAE40"/>
          </p15:clr>
        </p15:guide>
        <p15:guide id="4" orient="horz" pos="972" userDrawn="1">
          <p15:clr>
            <a:srgbClr val="FBAE40"/>
          </p15:clr>
        </p15:guide>
        <p15:guide id="5" orient="horz" pos="3991" userDrawn="1">
          <p15:clr>
            <a:srgbClr val="FBAE40"/>
          </p15:clr>
        </p15:guide>
        <p15:guide id="6" pos="7364"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421819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1"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hank You, Contact and Copyright">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433C5639-DDA2-864A-9DC3-7FC80AC852D5}"/>
              </a:ext>
            </a:extLst>
          </p:cNvPr>
          <p:cNvSpPr txBox="1"/>
          <p:nvPr userDrawn="1"/>
        </p:nvSpPr>
        <p:spPr>
          <a:xfrm>
            <a:off x="503238" y="2905125"/>
            <a:ext cx="1837041" cy="246221"/>
          </a:xfrm>
          <a:prstGeom prst="rect">
            <a:avLst/>
          </a:prstGeom>
          <a:noFill/>
        </p:spPr>
        <p:txBody>
          <a:bodyPr wrap="none" lIns="0" tIns="0" rIns="0" bIns="0" rtlCol="0">
            <a:spAutoFit/>
          </a:bodyPr>
          <a:lstStyle/>
          <a:p>
            <a:pPr marL="0" marR="0" lvl="0" indent="0" algn="l" defTabSz="1088776" rtl="0" eaLnBrk="1" fontAlgn="base" latinLnBrk="0" hangingPunct="1">
              <a:lnSpc>
                <a:spcPct val="100000"/>
              </a:lnSpc>
              <a:spcBef>
                <a:spcPct val="50000"/>
              </a:spcBef>
              <a:spcAft>
                <a:spcPct val="0"/>
              </a:spcAft>
              <a:buClr>
                <a:srgbClr val="F0AB00"/>
              </a:buClr>
              <a:buSzPct val="80000"/>
              <a:buFontTx/>
              <a:buNone/>
              <a:tabLst/>
              <a:defRPr/>
            </a:pPr>
            <a:r>
              <a:rPr lang="en-US" sz="1600" b="0" i="0">
                <a:latin typeface="+mn-lt"/>
              </a:rPr>
              <a:t>Contact information:</a:t>
            </a:r>
          </a:p>
        </p:txBody>
      </p:sp>
      <p:sp>
        <p:nvSpPr>
          <p:cNvPr id="9" name="Copyright - Dynamic" descr="{&quot;templafy&quot;:{&quot;id&quot;:&quot;80912183-bc58-4170-affe-513097c31042&quot;}}">
            <a:extLst>
              <a:ext uri="{FF2B5EF4-FFF2-40B4-BE49-F238E27FC236}">
                <a16:creationId xmlns:a16="http://schemas.microsoft.com/office/drawing/2014/main" id="{EDAF1AF5-D568-20CC-6052-F655D86F5486}"/>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mn-lt"/>
              </a:rPr>
              <a:t>© 2025 SAP SE or an SAP affiliate company. All rights reserved. See Legal Notice on </a:t>
            </a:r>
            <a:r>
              <a:rPr lang="en-US" sz="600" b="0" i="0" dirty="0" err="1">
                <a:latin typeface="+mn-lt"/>
              </a:rPr>
              <a:t>www.sap.com</a:t>
            </a:r>
            <a:r>
              <a:rPr lang="en-US" sz="600" b="0" i="0" dirty="0">
                <a:latin typeface="+mn-lt"/>
              </a:rPr>
              <a:t>/legal-notice for use terms, disclaimers, disclosures, or restrictions related to this material.</a:t>
            </a:r>
          </a:p>
        </p:txBody>
      </p:sp>
      <p:sp>
        <p:nvSpPr>
          <p:cNvPr id="3" name="Title 2">
            <a:extLst>
              <a:ext uri="{FF2B5EF4-FFF2-40B4-BE49-F238E27FC236}">
                <a16:creationId xmlns:a16="http://schemas.microsoft.com/office/drawing/2014/main" id="{5692DE12-4084-77D2-FD2A-8E63F6FBE7C5}"/>
              </a:ext>
            </a:extLst>
          </p:cNvPr>
          <p:cNvSpPr>
            <a:spLocks noGrp="1"/>
          </p:cNvSpPr>
          <p:nvPr>
            <p:ph type="title" hasCustomPrompt="1"/>
          </p:nvPr>
        </p:nvSpPr>
        <p:spPr>
          <a:xfrm>
            <a:off x="503238" y="1543050"/>
            <a:ext cx="5413477" cy="846386"/>
          </a:xfrm>
        </p:spPr>
        <p:txBody>
          <a:bodyPr/>
          <a:lstStyle>
            <a:lvl1pPr>
              <a:defRPr sz="5500" b="0" i="0">
                <a:latin typeface="72 Brand Medium" panose="020B0504030603020204" pitchFamily="34" charset="0"/>
              </a:defRPr>
            </a:lvl1pPr>
          </a:lstStyle>
          <a:p>
            <a:r>
              <a:rPr lang="en-GB" dirty="0"/>
              <a:t>Thank you.</a:t>
            </a:r>
            <a:endParaRPr lang="en-US" dirty="0"/>
          </a:p>
        </p:txBody>
      </p:sp>
      <p:pic>
        <p:nvPicPr>
          <p:cNvPr id="5" name="Picture 4">
            <a:extLst>
              <a:ext uri="{FF2B5EF4-FFF2-40B4-BE49-F238E27FC236}">
                <a16:creationId xmlns:a16="http://schemas.microsoft.com/office/drawing/2014/main" id="{9B2C865E-BEC1-EE4C-E61C-369AEE2DFC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83947" y="5990000"/>
            <a:ext cx="3506403" cy="360000"/>
          </a:xfrm>
          <a:prstGeom prst="rect">
            <a:avLst/>
          </a:prstGeom>
        </p:spPr>
      </p:pic>
    </p:spTree>
    <p:extLst>
      <p:ext uri="{BB962C8B-B14F-4D97-AF65-F5344CB8AC3E}">
        <p14:creationId xmlns:p14="http://schemas.microsoft.com/office/powerpoint/2010/main" val="781090314"/>
      </p:ext>
    </p:extLst>
  </p:cSld>
  <p:clrMapOvr>
    <a:masterClrMapping/>
  </p:clrMapOvr>
  <p:hf sldNum="0" hdr="0" ftr="0" dt="0"/>
  <p:extLst>
    <p:ext uri="{DCECCB84-F9BA-43D5-87BE-67443E8EF086}">
      <p15:sldGuideLst xmlns:p15="http://schemas.microsoft.com/office/powerpoint/2012/main">
        <p15:guide id="1" pos="7364" userDrawn="1">
          <p15:clr>
            <a:srgbClr val="FBAE40"/>
          </p15:clr>
        </p15:guide>
        <p15:guide id="2" orient="horz" pos="970" userDrawn="1">
          <p15:clr>
            <a:srgbClr val="FBAE40"/>
          </p15:clr>
        </p15:guide>
        <p15:guide id="4" orient="horz" pos="1830" userDrawn="1">
          <p15:clr>
            <a:srgbClr val="FBAE40"/>
          </p15:clr>
        </p15:guide>
        <p15:guide id="5" orient="horz" pos="4000" userDrawn="1">
          <p15:clr>
            <a:srgbClr val="FBAE40"/>
          </p15:clr>
        </p15:guide>
        <p15:guide id="6" pos="314" userDrawn="1">
          <p15:clr>
            <a:srgbClr val="FBAE40"/>
          </p15:clr>
        </p15:guide>
        <p15:guide id="8" pos="3841" userDrawn="1">
          <p15:clr>
            <a:srgbClr val="FBAE40"/>
          </p15:clr>
        </p15:guide>
        <p15:guide id="9" orient="horz" pos="31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tandard_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278425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ontent |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1CCC0F5-E43D-4616-B7C4-E058ADB680BD}"/>
              </a:ext>
            </a:extLst>
          </p:cNvPr>
          <p:cNvGraphicFramePr>
            <a:graphicFrameLocks noChangeAspect="1"/>
          </p:cNvGraphicFramePr>
          <p:nvPr userDrawn="1">
            <p:custDataLst>
              <p:tags r:id="rId1"/>
            </p:custDataLst>
            <p:extLst>
              <p:ext uri="{D42A27DB-BD31-4B8C-83A1-F6EECF244321}">
                <p14:modId xmlns:p14="http://schemas.microsoft.com/office/powerpoint/2010/main" val="385872884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kt 3" hidden="1">
                        <a:extLst>
                          <a:ext uri="{FF2B5EF4-FFF2-40B4-BE49-F238E27FC236}">
                            <a16:creationId xmlns:a16="http://schemas.microsoft.com/office/drawing/2014/main" id="{D1CCC0F5-E43D-4616-B7C4-E058ADB680BD}"/>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20" name="Inhaltsplatzhalter 1">
            <a:extLst>
              <a:ext uri="{FF2B5EF4-FFF2-40B4-BE49-F238E27FC236}">
                <a16:creationId xmlns:a16="http://schemas.microsoft.com/office/drawing/2014/main" id="{D9028297-F8A3-40B3-AA36-477ABB38F3E8}"/>
              </a:ext>
            </a:extLst>
          </p:cNvPr>
          <p:cNvSpPr>
            <a:spLocks noGrp="1"/>
          </p:cNvSpPr>
          <p:nvPr>
            <p:ph sz="quarter" idx="17" hasCustomPrompt="1"/>
          </p:nvPr>
        </p:nvSpPr>
        <p:spPr>
          <a:xfrm>
            <a:off x="489074" y="1413933"/>
            <a:ext cx="11227607" cy="4894792"/>
          </a:xfrm>
        </p:spPr>
        <p:txBody>
          <a:bodyPr/>
          <a:lstStyle>
            <a:lvl1pPr rtl="0">
              <a:lnSpc>
                <a:spcPct val="100000"/>
              </a:lnSpc>
              <a:spcBef>
                <a:spcPts val="0"/>
              </a:spcBef>
              <a:spcAft>
                <a:spcPts val="600"/>
              </a:spcAft>
              <a:defRPr/>
            </a:lvl1pPr>
            <a:lvl2pPr rtl="0">
              <a:lnSpc>
                <a:spcPct val="100000"/>
              </a:lnSpc>
              <a:spcBef>
                <a:spcPts val="0"/>
              </a:spcBef>
              <a:spcAft>
                <a:spcPts val="600"/>
              </a:spcAft>
              <a:defRPr/>
            </a:lvl2pPr>
            <a:lvl3pPr rtl="0">
              <a:lnSpc>
                <a:spcPct val="100000"/>
              </a:lnSpc>
              <a:spcBef>
                <a:spcPts val="0"/>
              </a:spcBef>
              <a:spcAft>
                <a:spcPts val="600"/>
              </a:spcAft>
              <a:defRPr/>
            </a:lvl3pPr>
            <a:lvl4pPr rtl="0">
              <a:lnSpc>
                <a:spcPct val="100000"/>
              </a:lnSpc>
              <a:spcBef>
                <a:spcPts val="0"/>
              </a:spcBef>
              <a:spcAft>
                <a:spcPts val="600"/>
              </a:spcAft>
              <a:defRPr/>
            </a:lvl4pPr>
            <a:lvl5pPr rtl="0">
              <a:lnSpc>
                <a:spcPct val="100000"/>
              </a:lnSpc>
              <a:spcBef>
                <a:spcPts val="0"/>
              </a:spcBef>
              <a:spcAft>
                <a:spcPts val="600"/>
              </a:spcAft>
              <a:defRPr/>
            </a:lvl5pPr>
          </a:lstStyle>
          <a:p>
            <a:pPr lvl="0"/>
            <a:r>
              <a:rPr lang="de-DE" noProof="0"/>
              <a:t>Click </a:t>
            </a:r>
            <a:r>
              <a:rPr lang="de-DE" noProof="0" err="1"/>
              <a:t>to</a:t>
            </a:r>
            <a:r>
              <a:rPr lang="de-DE" noProof="0"/>
              <a:t> </a:t>
            </a:r>
            <a:r>
              <a:rPr lang="de-DE" noProof="0" err="1"/>
              <a:t>edit</a:t>
            </a:r>
            <a:r>
              <a:rPr lang="de-DE" noProof="0"/>
              <a:t> </a:t>
            </a:r>
            <a:r>
              <a:rPr lang="de-DE" noProof="0" err="1"/>
              <a:t>text</a:t>
            </a:r>
            <a:r>
              <a:rPr lang="de-DE" noProof="0"/>
              <a:t>. </a:t>
            </a:r>
            <a:r>
              <a:rPr lang="de-DE" noProof="0" err="1"/>
              <a:t>To</a:t>
            </a:r>
            <a:r>
              <a:rPr lang="de-DE" noProof="0"/>
              <a:t> </a:t>
            </a:r>
            <a:r>
              <a:rPr lang="de-DE" noProof="0" err="1"/>
              <a:t>insert</a:t>
            </a:r>
            <a:r>
              <a:rPr lang="de-DE" noProof="0"/>
              <a:t> </a:t>
            </a:r>
            <a:r>
              <a:rPr lang="de-DE" noProof="0" err="1"/>
              <a:t>content</a:t>
            </a:r>
            <a:r>
              <a:rPr lang="de-DE" noProof="0"/>
              <a:t> like a </a:t>
            </a:r>
            <a:r>
              <a:rPr lang="de-DE" noProof="0" err="1"/>
              <a:t>table</a:t>
            </a:r>
            <a:r>
              <a:rPr lang="de-DE" noProof="0"/>
              <a:t> </a:t>
            </a:r>
            <a:r>
              <a:rPr lang="de-DE" noProof="0" err="1"/>
              <a:t>or</a:t>
            </a:r>
            <a:r>
              <a:rPr lang="de-DE" noProof="0"/>
              <a:t> </a:t>
            </a:r>
            <a:r>
              <a:rPr lang="de-DE" noProof="0" err="1"/>
              <a:t>diagram</a:t>
            </a:r>
            <a:r>
              <a:rPr lang="de-DE" noProof="0"/>
              <a:t> just </a:t>
            </a:r>
            <a:r>
              <a:rPr lang="de-DE" noProof="0" err="1"/>
              <a:t>click</a:t>
            </a:r>
            <a:r>
              <a:rPr lang="de-DE" noProof="0"/>
              <a:t> </a:t>
            </a:r>
            <a:r>
              <a:rPr lang="de-DE" noProof="0" err="1"/>
              <a:t>the</a:t>
            </a:r>
            <a:r>
              <a:rPr lang="de-DE" noProof="0"/>
              <a:t> </a:t>
            </a:r>
            <a:r>
              <a:rPr lang="de-DE" noProof="0" err="1"/>
              <a:t>icon</a:t>
            </a:r>
            <a:r>
              <a:rPr lang="de-DE" noProof="0"/>
              <a:t> in </a:t>
            </a:r>
            <a:r>
              <a:rPr lang="de-DE" noProof="0" err="1"/>
              <a:t>the</a:t>
            </a:r>
            <a:r>
              <a:rPr lang="de-DE" noProof="0"/>
              <a:t> </a:t>
            </a:r>
            <a:r>
              <a:rPr lang="de-DE" noProof="0" err="1"/>
              <a:t>middle</a:t>
            </a:r>
            <a:r>
              <a:rPr lang="de-DE" noProof="0"/>
              <a:t> </a:t>
            </a:r>
            <a:r>
              <a:rPr lang="de-DE" noProof="0" err="1"/>
              <a:t>of</a:t>
            </a:r>
            <a:r>
              <a:rPr lang="de-DE" noProof="0"/>
              <a:t> </a:t>
            </a:r>
            <a:r>
              <a:rPr lang="de-DE" noProof="0" err="1"/>
              <a:t>the</a:t>
            </a:r>
            <a:r>
              <a:rPr lang="de-DE" noProof="0"/>
              <a:t> </a:t>
            </a:r>
            <a:r>
              <a:rPr lang="de-DE" noProof="0" err="1"/>
              <a:t>placeholder</a:t>
            </a:r>
            <a:r>
              <a:rPr lang="de-DE" noProof="0"/>
              <a:t>.</a:t>
            </a:r>
          </a:p>
          <a:p>
            <a:pPr lvl="1"/>
            <a:r>
              <a:rPr lang="de-DE" noProof="0"/>
              <a:t>Second </a:t>
            </a:r>
            <a:r>
              <a:rPr lang="de-DE" noProof="0" err="1"/>
              <a:t>level</a:t>
            </a:r>
            <a:endParaRPr lang="de-DE" noProof="0"/>
          </a:p>
          <a:p>
            <a:pPr lvl="2"/>
            <a:r>
              <a:rPr lang="de-DE" noProof="0"/>
              <a:t>Third </a:t>
            </a:r>
            <a:r>
              <a:rPr lang="de-DE" noProof="0" err="1"/>
              <a:t>level</a:t>
            </a:r>
            <a:endParaRPr lang="de-DE" noProof="0"/>
          </a:p>
          <a:p>
            <a:pPr lvl="3"/>
            <a:r>
              <a:rPr lang="de-DE" noProof="0"/>
              <a:t>Forth </a:t>
            </a:r>
            <a:r>
              <a:rPr lang="de-DE" noProof="0" err="1"/>
              <a:t>level</a:t>
            </a:r>
            <a:endParaRPr lang="de-DE" noProof="0"/>
          </a:p>
          <a:p>
            <a:pPr lvl="4"/>
            <a:r>
              <a:rPr lang="de-DE" noProof="0" err="1"/>
              <a:t>Fifth</a:t>
            </a:r>
            <a:r>
              <a:rPr lang="de-DE" noProof="0"/>
              <a:t> </a:t>
            </a:r>
            <a:r>
              <a:rPr lang="de-DE" noProof="0" err="1"/>
              <a:t>level</a:t>
            </a:r>
            <a:endParaRPr lang="de-DE" noProof="0"/>
          </a:p>
        </p:txBody>
      </p:sp>
      <p:sp>
        <p:nvSpPr>
          <p:cNvPr id="2" name="Titel 1"/>
          <p:cNvSpPr>
            <a:spLocks noGrp="1"/>
          </p:cNvSpPr>
          <p:nvPr>
            <p:ph type="title" hasCustomPrompt="1"/>
          </p:nvPr>
        </p:nvSpPr>
        <p:spPr>
          <a:xfrm>
            <a:off x="489074" y="347184"/>
            <a:ext cx="11227607" cy="369204"/>
          </a:xfrm>
        </p:spPr>
        <p:txBody>
          <a:bodyPr vert="horz"/>
          <a:lstStyle>
            <a:lvl1pPr rtl="0">
              <a:lnSpc>
                <a:spcPct val="100000"/>
              </a:lnSpc>
              <a:spcBef>
                <a:spcPts val="0"/>
              </a:spcBef>
              <a:spcAft>
                <a:spcPts val="600"/>
              </a:spcAft>
              <a:defRPr cap="all" baseline="0"/>
            </a:lvl1pPr>
          </a:lstStyle>
          <a:p>
            <a:r>
              <a:rPr lang="de-DE" noProof="0"/>
              <a:t>Click </a:t>
            </a:r>
            <a:r>
              <a:rPr lang="de-DE" noProof="0" err="1"/>
              <a:t>to</a:t>
            </a:r>
            <a:r>
              <a:rPr lang="de-DE" noProof="0"/>
              <a:t> </a:t>
            </a:r>
            <a:r>
              <a:rPr lang="de-DE" noProof="0" err="1"/>
              <a:t>edit</a:t>
            </a:r>
            <a:r>
              <a:rPr lang="de-DE" noProof="0"/>
              <a:t> Action Title. 26pt. All Caps. </a:t>
            </a:r>
            <a:r>
              <a:rPr lang="de-DE" noProof="0" err="1"/>
              <a:t>Two</a:t>
            </a:r>
            <a:r>
              <a:rPr lang="de-DE" noProof="0"/>
              <a:t> </a:t>
            </a:r>
            <a:r>
              <a:rPr lang="de-DE" noProof="0" err="1"/>
              <a:t>lines</a:t>
            </a:r>
            <a:r>
              <a:rPr lang="de-DE" noProof="0"/>
              <a:t> maximum.</a:t>
            </a:r>
          </a:p>
        </p:txBody>
      </p:sp>
    </p:spTree>
    <p:extLst>
      <p:ext uri="{BB962C8B-B14F-4D97-AF65-F5344CB8AC3E}">
        <p14:creationId xmlns:p14="http://schemas.microsoft.com/office/powerpoint/2010/main" val="359246843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Pr>
        <a:solidFill>
          <a:srgbClr val="D9F2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006DD3A-E0BC-6BD5-B77F-508002417237}"/>
              </a:ext>
            </a:extLst>
          </p:cNvPr>
          <p:cNvGraphicFramePr>
            <a:graphicFrameLocks noChangeAspect="1"/>
          </p:cNvGraphicFramePr>
          <p:nvPr userDrawn="1">
            <p:custDataLst>
              <p:tags r:id="rId1"/>
            </p:custDataLst>
            <p:extLst>
              <p:ext uri="{D42A27DB-BD31-4B8C-83A1-F6EECF244321}">
                <p14:modId xmlns:p14="http://schemas.microsoft.com/office/powerpoint/2010/main" val="2451938385"/>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9006DD3A-E0BC-6BD5-B77F-508002417237}"/>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2" name="Anvil" descr="preencoded.png">
            <a:extLst>
              <a:ext uri="{FF2B5EF4-FFF2-40B4-BE49-F238E27FC236}">
                <a16:creationId xmlns:a16="http://schemas.microsoft.com/office/drawing/2014/main" id="{94093846-CC07-3993-CA62-86004F1C03F9}"/>
              </a:ext>
            </a:extLst>
          </p:cNvPr>
          <p:cNvSpPr/>
          <p:nvPr/>
        </p:nvSpPr>
        <p:spPr>
          <a:xfrm>
            <a:off x="1671630" y="1247338"/>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572571" y="2532146"/>
            <a:ext cx="5929920" cy="997196"/>
          </a:xfrm>
        </p:spPr>
        <p:txBody>
          <a:bodyPr vert="horz">
            <a:noAutofit/>
          </a:bodyPr>
          <a:lstStyle>
            <a:lvl1pPr>
              <a:lnSpc>
                <a:spcPct val="90000"/>
              </a:lnSpc>
              <a:defRPr sz="3598" b="1" i="0">
                <a:latin typeface="72 Brand" panose="020B0504030603020204" pitchFamily="34" charset="0"/>
                <a:cs typeface="72 Brand" panose="020B0504030603020204" pitchFamily="34" charset="0"/>
              </a:defRPr>
            </a:lvl1pPr>
          </a:lstStyle>
          <a:p>
            <a:pPr fontAlgn="base">
              <a:spcBef>
                <a:spcPct val="50000"/>
              </a:spcBef>
              <a:spcAft>
                <a:spcPct val="0"/>
              </a:spcAft>
              <a:buClr>
                <a:srgbClr val="F0AB00"/>
              </a:buClr>
              <a:buSzPct val="80000"/>
            </a:pPr>
            <a:r>
              <a:rPr lang="en-US"/>
              <a:t>Click to edit</a:t>
            </a:r>
            <a:br>
              <a:rPr lang="en-US"/>
            </a:br>
            <a:r>
              <a:rPr lang="en-US"/>
              <a:t>Master text styles</a:t>
            </a:r>
            <a:endParaRPr lang="de-DE" sz="3598" kern="0" err="1">
              <a:ea typeface="72 Brand" pitchFamily="34" charset="-128"/>
              <a:cs typeface="72 Brand" pitchFamily="34" charset="-128"/>
            </a:endParaRPr>
          </a:p>
        </p:txBody>
      </p:sp>
      <p:pic>
        <p:nvPicPr>
          <p:cNvPr id="763714216" name="LogoBlack-Dynamic" descr="{&quot;templafy&quot;:{&quot;id&quot;:&quot;b6479768-857b-4623-a86b-d3d2cf03ddc6&quot;}}"/>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3089" y="577850"/>
            <a:ext cx="727192" cy="360000"/>
          </a:xfrm>
          <a:prstGeom prst="rect">
            <a:avLst/>
          </a:prstGeom>
        </p:spPr>
      </p:pic>
      <p:sp>
        <p:nvSpPr>
          <p:cNvPr id="4" name="Copyright Placeholder" descr="{&quot;templafy&quot;:{&quot;id&quot;:&quot;a74eddeb-ce90-4f01-99b3-d929310ab967&quot;}}">
            <a:extLst>
              <a:ext uri="{FF2B5EF4-FFF2-40B4-BE49-F238E27FC236}">
                <a16:creationId xmlns:a16="http://schemas.microsoft.com/office/drawing/2014/main" id="{85A55DFB-068C-AE2F-35BC-97CC4F060974}"/>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
        <p:nvSpPr>
          <p:cNvPr id="13" name="Text Placeholder 12">
            <a:extLst>
              <a:ext uri="{FF2B5EF4-FFF2-40B4-BE49-F238E27FC236}">
                <a16:creationId xmlns:a16="http://schemas.microsoft.com/office/drawing/2014/main" id="{0989AE99-4237-3ABD-9A2E-B0B3925838F7}"/>
              </a:ext>
            </a:extLst>
          </p:cNvPr>
          <p:cNvSpPr>
            <a:spLocks noGrp="1"/>
          </p:cNvSpPr>
          <p:nvPr>
            <p:ph type="body" sz="quarter" idx="10"/>
          </p:nvPr>
        </p:nvSpPr>
        <p:spPr>
          <a:xfrm>
            <a:off x="573088" y="3975057"/>
            <a:ext cx="5929312" cy="301752"/>
          </a:xfrm>
        </p:spPr>
        <p:txBody>
          <a:bodyPr/>
          <a:lstStyle>
            <a:lvl1pPr>
              <a:defRPr>
                <a:latin typeface="72 Brand" panose="020B0504030603020204" pitchFamily="34" charset="0"/>
              </a:defRPr>
            </a:lvl1pPr>
            <a:lvl2pPr marL="0" indent="0">
              <a:buNone/>
              <a:defRPr/>
            </a:lvl2pPr>
          </a:lstStyle>
          <a:p>
            <a:pPr lvl="0"/>
            <a:r>
              <a:rPr lang="en-US"/>
              <a:t>Click to edit Master text styles</a:t>
            </a:r>
          </a:p>
        </p:txBody>
      </p:sp>
    </p:spTree>
    <p:extLst>
      <p:ext uri="{BB962C8B-B14F-4D97-AF65-F5344CB8AC3E}">
        <p14:creationId xmlns:p14="http://schemas.microsoft.com/office/powerpoint/2010/main" val="55024004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cover with green anvi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615A14AB-7A75-B899-CDA1-E311E201A837}"/>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3" name="Anvil" descr="preencoded.png">
            <a:extLst>
              <a:ext uri="{FF2B5EF4-FFF2-40B4-BE49-F238E27FC236}">
                <a16:creationId xmlns:a16="http://schemas.microsoft.com/office/drawing/2014/main" id="{CAD3135A-95A0-606F-5A25-35CF890B232D}"/>
              </a:ext>
            </a:extLst>
          </p:cNvPr>
          <p:cNvSpPr/>
          <p:nvPr/>
        </p:nvSpPr>
        <p:spPr>
          <a:xfrm>
            <a:off x="5072441" y="1275473"/>
            <a:ext cx="6069341" cy="2991727"/>
          </a:xfrm>
          <a:custGeom>
            <a:avLst/>
            <a:gdLst>
              <a:gd name="connsiteX0" fmla="*/ 0 w 6069341"/>
              <a:gd name="connsiteY0" fmla="*/ 0 h 2991727"/>
              <a:gd name="connsiteX1" fmla="*/ 0 w 6069341"/>
              <a:gd name="connsiteY1" fmla="*/ 2991727 h 2991727"/>
              <a:gd name="connsiteX2" fmla="*/ 3084421 w 6069341"/>
              <a:gd name="connsiteY2" fmla="*/ 2991727 h 2991727"/>
              <a:gd name="connsiteX3" fmla="*/ 6069341 w 6069341"/>
              <a:gd name="connsiteY3" fmla="*/ 0 h 2991727"/>
              <a:gd name="connsiteX4" fmla="*/ 0 w 6069341"/>
              <a:gd name="connsiteY4" fmla="*/ 0 h 29917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69341" h="2991727">
                <a:moveTo>
                  <a:pt x="0" y="0"/>
                </a:moveTo>
                <a:lnTo>
                  <a:pt x="0" y="2991727"/>
                </a:lnTo>
                <a:lnTo>
                  <a:pt x="3084421" y="2991727"/>
                </a:lnTo>
                <a:lnTo>
                  <a:pt x="6069341" y="0"/>
                </a:lnTo>
                <a:lnTo>
                  <a:pt x="0" y="0"/>
                </a:lnTo>
                <a:close/>
              </a:path>
            </a:pathLst>
          </a:custGeom>
          <a:solidFill>
            <a:srgbClr val="97DD40"/>
          </a:solidFill>
          <a:ln w="7155" cap="flat">
            <a:noFill/>
            <a:prstDash val="solid"/>
            <a:miter/>
          </a:ln>
        </p:spPr>
        <p:txBody>
          <a:bodyPr rtlCol="0" anchor="ctr"/>
          <a:lstStyle/>
          <a:p>
            <a:endParaRPr lang="en-US" b="0" i="0" dirty="0">
              <a:latin typeface="72 Brand" panose="020B0504030603020204" pitchFamily="34" charset="0"/>
            </a:endParaRPr>
          </a:p>
        </p:txBody>
      </p:sp>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465565870" name="LogoBlue-Dynamic" descr="{&quot;templafy&quot;:{&quot;id&quot;:&quot;10f8adee-d3a3-438b-8886-b5b949965a96&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11" name="Classification-Dynamic" descr="{&quot;templafy&quot;:{&quot;id&quot;:&quot;5684d9df-e172-4477-9456-b7dbc911847c&quot;}}">
            <a:extLst>
              <a:ext uri="{FF2B5EF4-FFF2-40B4-BE49-F238E27FC236}">
                <a16:creationId xmlns:a16="http://schemas.microsoft.com/office/drawing/2014/main" id="{62D91ACB-BD14-46CB-4B61-F4B072D877C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5547614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Page">
    <p:bg>
      <p:bgPr>
        <a:solidFill>
          <a:srgbClr val="D9F2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478135D-1FE0-EB14-B74D-EEE93C4575F3}"/>
              </a:ext>
            </a:extLst>
          </p:cNvPr>
          <p:cNvGraphicFramePr>
            <a:graphicFrameLocks noChangeAspect="1"/>
          </p:cNvGraphicFramePr>
          <p:nvPr userDrawn="1">
            <p:custDataLst>
              <p:tags r:id="rId1"/>
            </p:custDataLst>
            <p:extLst>
              <p:ext uri="{D42A27DB-BD31-4B8C-83A1-F6EECF244321}">
                <p14:modId xmlns:p14="http://schemas.microsoft.com/office/powerpoint/2010/main" val="2991968976"/>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478135D-1FE0-EB14-B74D-EEE93C4575F3}"/>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2" name="Divider text"/>
          <p:cNvSpPr>
            <a:spLocks noGrp="1"/>
          </p:cNvSpPr>
          <p:nvPr>
            <p:ph type="ctrTitle" hasCustomPrompt="1"/>
          </p:nvPr>
        </p:nvSpPr>
        <p:spPr bwMode="black">
          <a:xfrm>
            <a:off x="547542" y="2922495"/>
            <a:ext cx="11080766" cy="677108"/>
          </a:xfrm>
        </p:spPr>
        <p:txBody>
          <a:bodyPr vert="horz" anchor="ctr" anchorCtr="0">
            <a:noAutofit/>
          </a:bodyPr>
          <a:lstStyle>
            <a:lvl1pPr>
              <a:defRPr sz="3598" b="1" i="0">
                <a:gradFill>
                  <a:gsLst>
                    <a:gs pos="0">
                      <a:schemeClr val="tx1"/>
                    </a:gs>
                    <a:gs pos="100000">
                      <a:schemeClr val="tx1"/>
                    </a:gs>
                  </a:gsLst>
                  <a:lin ang="5400000" scaled="1"/>
                </a:gradFill>
                <a:latin typeface="72 Brand" panose="020B0504030603020204" pitchFamily="34" charset="0"/>
              </a:defRPr>
            </a:lvl1pPr>
          </a:lstStyle>
          <a:p>
            <a:r>
              <a:rPr lang="en-US"/>
              <a:t>Divider page</a:t>
            </a:r>
            <a:endParaRPr lang="de-DE"/>
          </a:p>
        </p:txBody>
      </p:sp>
      <p:sp>
        <p:nvSpPr>
          <p:cNvPr id="5" name="Copyright Placeholder" descr="{&quot;templafy&quot;:{&quot;id&quot;:&quot;a74eddeb-ce90-4f01-99b3-d929310ab967&quot;}}">
            <a:extLst>
              <a:ext uri="{FF2B5EF4-FFF2-40B4-BE49-F238E27FC236}">
                <a16:creationId xmlns:a16="http://schemas.microsoft.com/office/drawing/2014/main" id="{2F1536EC-1CAA-7074-DDA8-9FD3CD27FD50}"/>
              </a:ext>
            </a:extLst>
          </p:cNvPr>
          <p:cNvSpPr txBox="1">
            <a:spLocks/>
          </p:cNvSpPr>
          <p:nvPr userDrawn="1"/>
        </p:nvSpPr>
        <p:spPr>
          <a:xfrm>
            <a:off x="578646" y="6559835"/>
            <a:ext cx="1205458"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rPr>
              <a:t>INTERNAL – SAP and Partners Only</a:t>
            </a:r>
          </a:p>
        </p:txBody>
      </p:sp>
    </p:spTree>
    <p:extLst>
      <p:ext uri="{BB962C8B-B14F-4D97-AF65-F5344CB8AC3E}">
        <p14:creationId xmlns:p14="http://schemas.microsoft.com/office/powerpoint/2010/main" val="3955927348"/>
      </p:ext>
    </p:extLst>
  </p:cSld>
  <p:clrMapOvr>
    <a:masterClrMapping/>
  </p:clrMapOvr>
  <p:hf sldNum="0" hdr="0" ftr="0" dt="0"/>
  <p:extLst>
    <p:ext uri="{DCECCB84-F9BA-43D5-87BE-67443E8EF086}">
      <p15:sldGuideLst xmlns:p15="http://schemas.microsoft.com/office/powerpoint/2012/main">
        <p15:guide id="2"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39D5E8F-C579-4435-2EAD-E1E731E74A69}"/>
              </a:ext>
            </a:extLst>
          </p:cNvPr>
          <p:cNvGraphicFramePr>
            <a:graphicFrameLocks noChangeAspect="1"/>
          </p:cNvGraphicFramePr>
          <p:nvPr userDrawn="1">
            <p:custDataLst>
              <p:tags r:id="rId1"/>
            </p:custDataLst>
            <p:extLst>
              <p:ext uri="{D42A27DB-BD31-4B8C-83A1-F6EECF244321}">
                <p14:modId xmlns:p14="http://schemas.microsoft.com/office/powerpoint/2010/main" val="3697275041"/>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D39D5E8F-C579-4435-2EAD-E1E731E74A69}"/>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79441DAC-29D1-069F-ED28-5B92DFD60E2F}"/>
              </a:ext>
            </a:extLst>
          </p:cNvPr>
          <p:cNvSpPr>
            <a:spLocks noGrp="1"/>
          </p:cNvSpPr>
          <p:nvPr>
            <p:ph type="title" hasCustomPrompt="1"/>
          </p:nvPr>
        </p:nvSpPr>
        <p:spPr>
          <a:xfrm>
            <a:off x="555757" y="496857"/>
            <a:ext cx="11066331" cy="369332"/>
          </a:xfrm>
        </p:spPr>
        <p:txBody>
          <a:bodyPr vert="horz"/>
          <a:lstStyle>
            <a:lvl1pPr>
              <a:defRPr b="0">
                <a:latin typeface="+mj-lt"/>
              </a:defRPr>
            </a:lvl1pPr>
          </a:lstStyle>
          <a:p>
            <a:r>
              <a:rPr lang="en-US" noProof="0"/>
              <a:t>Insert page title (sentence case)</a:t>
            </a:r>
            <a:endParaRPr lang="en-US"/>
          </a:p>
        </p:txBody>
      </p:sp>
    </p:spTree>
    <p:extLst>
      <p:ext uri="{BB962C8B-B14F-4D97-AF65-F5344CB8AC3E}">
        <p14:creationId xmlns:p14="http://schemas.microsoft.com/office/powerpoint/2010/main" val="714892297"/>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17D489-784D-5FD8-48C7-3C5B37A10767}"/>
              </a:ext>
            </a:extLst>
          </p:cNvPr>
          <p:cNvGraphicFramePr>
            <a:graphicFrameLocks noChangeAspect="1"/>
          </p:cNvGraphicFramePr>
          <p:nvPr userDrawn="1">
            <p:custDataLst>
              <p:tags r:id="rId1"/>
            </p:custDataLst>
            <p:extLst>
              <p:ext uri="{D42A27DB-BD31-4B8C-83A1-F6EECF244321}">
                <p14:modId xmlns:p14="http://schemas.microsoft.com/office/powerpoint/2010/main" val="1100122065"/>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4617D489-784D-5FD8-48C7-3C5B37A10767}"/>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2" name="Title">
            <a:extLst>
              <a:ext uri="{FF2B5EF4-FFF2-40B4-BE49-F238E27FC236}">
                <a16:creationId xmlns:a16="http://schemas.microsoft.com/office/drawing/2014/main" id="{4DF68153-19C4-3E33-BDC5-DB89024E2885}"/>
              </a:ext>
            </a:extLst>
          </p:cNvPr>
          <p:cNvSpPr>
            <a:spLocks noGrp="1"/>
          </p:cNvSpPr>
          <p:nvPr>
            <p:ph type="title" hasCustomPrompt="1"/>
          </p:nvPr>
        </p:nvSpPr>
        <p:spPr>
          <a:xfrm>
            <a:off x="555757" y="496857"/>
            <a:ext cx="11066331" cy="369332"/>
          </a:xfrm>
        </p:spPr>
        <p:txBody>
          <a:bodyPr vert="horz"/>
          <a:lstStyle>
            <a:lvl1pPr>
              <a:defRPr>
                <a:latin typeface="72 Brand" panose="020B0504030603020204" pitchFamily="34" charset="0"/>
              </a:defRPr>
            </a:lvl1pPr>
          </a:lstStyle>
          <a:p>
            <a:r>
              <a:rPr lang="en-US" noProof="0"/>
              <a:t>Insert page title (sentence case)</a:t>
            </a:r>
            <a:endParaRPr lang="en-US"/>
          </a:p>
        </p:txBody>
      </p:sp>
      <p:sp>
        <p:nvSpPr>
          <p:cNvPr id="9" name="Text Placeholder 8">
            <a:extLst>
              <a:ext uri="{FF2B5EF4-FFF2-40B4-BE49-F238E27FC236}">
                <a16:creationId xmlns:a16="http://schemas.microsoft.com/office/drawing/2014/main" id="{B2AA448A-778C-41B0-B0D9-C26C746C6143}"/>
              </a:ext>
            </a:extLst>
          </p:cNvPr>
          <p:cNvSpPr>
            <a:spLocks noGrp="1"/>
          </p:cNvSpPr>
          <p:nvPr>
            <p:ph type="body" sz="quarter" idx="10"/>
          </p:nvPr>
        </p:nvSpPr>
        <p:spPr>
          <a:xfrm>
            <a:off x="573088" y="1336677"/>
            <a:ext cx="11049000" cy="2092325"/>
          </a:xfrm>
        </p:spPr>
        <p:txBody>
          <a:bodyPr/>
          <a:lstStyle>
            <a:lvl1pPr>
              <a:defRPr>
                <a:latin typeface="72 Brand" panose="020B0504030603020204" pitchFamily="34" charset="0"/>
              </a:defRPr>
            </a:lvl1pPr>
            <a:lvl2pPr>
              <a:defRPr>
                <a:latin typeface="72 Brand" panose="020B0504030603020204" pitchFamily="34" charset="0"/>
              </a:defRPr>
            </a:lvl2pPr>
            <a:lvl3pPr>
              <a:defRPr>
                <a:latin typeface="72 Brand" panose="020B0504030603020204" pitchFamily="34" charset="0"/>
              </a:defRPr>
            </a:lvl3pPr>
            <a:lvl4pPr>
              <a:defRPr>
                <a:latin typeface="72 Brand" panose="020B0504030603020204" pitchFamily="34" charset="0"/>
              </a:defRPr>
            </a:lvl4pPr>
            <a:lvl5pPr>
              <a:defRPr>
                <a:latin typeface="72 Brand" panose="020B05040306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444052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6EBE08-F8A7-3B87-9CFC-5B00E35FE4DB}"/>
              </a:ext>
            </a:extLst>
          </p:cNvPr>
          <p:cNvGraphicFramePr>
            <a:graphicFrameLocks noChangeAspect="1"/>
          </p:cNvGraphicFramePr>
          <p:nvPr userDrawn="1">
            <p:custDataLst>
              <p:tags r:id="rId1"/>
            </p:custDataLst>
            <p:extLst>
              <p:ext uri="{D42A27DB-BD31-4B8C-83A1-F6EECF244321}">
                <p14:modId xmlns:p14="http://schemas.microsoft.com/office/powerpoint/2010/main" val="957833947"/>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think-cell data - do not delete" hidden="1">
                        <a:extLst>
                          <a:ext uri="{FF2B5EF4-FFF2-40B4-BE49-F238E27FC236}">
                            <a16:creationId xmlns:a16="http://schemas.microsoft.com/office/drawing/2014/main" id="{B26EBE08-F8A7-3B87-9CFC-5B00E35FE4DB}"/>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
        <p:nvSpPr>
          <p:cNvPr id="2" name="Text Placeholder">
            <a:extLst>
              <a:ext uri="{FF2B5EF4-FFF2-40B4-BE49-F238E27FC236}">
                <a16:creationId xmlns:a16="http://schemas.microsoft.com/office/drawing/2014/main" id="{C3A5C95F-5C9F-FF1E-2825-FF5C7591967E}"/>
              </a:ext>
            </a:extLst>
          </p:cNvPr>
          <p:cNvSpPr>
            <a:spLocks noGrp="1"/>
          </p:cNvSpPr>
          <p:nvPr>
            <p:ph type="body" sz="quarter" idx="10" hasCustomPrompt="1"/>
          </p:nvPr>
        </p:nvSpPr>
        <p:spPr>
          <a:xfrm>
            <a:off x="573088" y="1277756"/>
            <a:ext cx="5258912" cy="5005571"/>
          </a:xfrm>
        </p:spPr>
        <p:txBody>
          <a:bodyPr/>
          <a:lstStyle>
            <a:lvl1pPr>
              <a:defRPr>
                <a:latin typeface="72 Brand" panose="020B0504030603020204" pitchFamily="34" charset="0"/>
              </a:defRPr>
            </a:lvl1pPr>
            <a:lvl2pPr>
              <a:defRPr>
                <a:latin typeface="72 Brand" panose="020B0504030603020204" pitchFamily="34" charset="0"/>
              </a:defRPr>
            </a:lvl2pPr>
            <a:lvl3pPr>
              <a:defRPr>
                <a:latin typeface="72 Brand" panose="020B0504030603020204" pitchFamily="34" charset="0"/>
              </a:defRPr>
            </a:lvl3pPr>
            <a:lvl4pPr>
              <a:defRPr>
                <a:latin typeface="72 Brand" panose="020B0504030603020204" pitchFamily="34" charset="0"/>
              </a:defRPr>
            </a:lvl4pPr>
            <a:lvl5pPr>
              <a:defRPr>
                <a:latin typeface="72 Brand" panose="020B0504030603020204" pitchFamily="34" charset="0"/>
              </a:defRPr>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a:extLst>
              <a:ext uri="{FF2B5EF4-FFF2-40B4-BE49-F238E27FC236}">
                <a16:creationId xmlns:a16="http://schemas.microsoft.com/office/drawing/2014/main" id="{E6489674-DC36-6412-46DC-FED04B076484}"/>
              </a:ext>
            </a:extLst>
          </p:cNvPr>
          <p:cNvSpPr>
            <a:spLocks noGrp="1"/>
          </p:cNvSpPr>
          <p:nvPr>
            <p:ph type="body" sz="quarter" idx="11" hasCustomPrompt="1"/>
          </p:nvPr>
        </p:nvSpPr>
        <p:spPr>
          <a:xfrm>
            <a:off x="6358067" y="1277756"/>
            <a:ext cx="5258912" cy="5005571"/>
          </a:xfrm>
        </p:spPr>
        <p:txBody>
          <a:bodyPr/>
          <a:lstStyle>
            <a:lvl1pPr>
              <a:defRPr>
                <a:latin typeface="72 Brand" panose="020B0504030603020204" pitchFamily="34" charset="0"/>
              </a:defRPr>
            </a:lvl1pPr>
            <a:lvl2pPr>
              <a:defRPr>
                <a:latin typeface="72 Brand" panose="020B0504030603020204" pitchFamily="34" charset="0"/>
              </a:defRPr>
            </a:lvl2pPr>
            <a:lvl3pPr>
              <a:defRPr>
                <a:latin typeface="72 Brand" panose="020B0504030603020204" pitchFamily="34" charset="0"/>
              </a:defRPr>
            </a:lvl3pPr>
            <a:lvl4pPr>
              <a:defRPr>
                <a:latin typeface="72 Brand" panose="020B0504030603020204" pitchFamily="34" charset="0"/>
              </a:defRPr>
            </a:lvl4pPr>
            <a:lvl5pPr>
              <a:defRPr>
                <a:latin typeface="72 Brand" panose="020B0504030603020204" pitchFamily="34" charset="0"/>
              </a:defRPr>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7" name="Title">
            <a:extLst>
              <a:ext uri="{FF2B5EF4-FFF2-40B4-BE49-F238E27FC236}">
                <a16:creationId xmlns:a16="http://schemas.microsoft.com/office/drawing/2014/main" id="{7C3B9C95-D54F-2139-3ACD-75A20923D106}"/>
              </a:ext>
            </a:extLst>
          </p:cNvPr>
          <p:cNvSpPr>
            <a:spLocks noGrp="1"/>
          </p:cNvSpPr>
          <p:nvPr>
            <p:ph type="title" hasCustomPrompt="1"/>
          </p:nvPr>
        </p:nvSpPr>
        <p:spPr>
          <a:xfrm>
            <a:off x="555757" y="496857"/>
            <a:ext cx="11066331" cy="369332"/>
          </a:xfrm>
        </p:spPr>
        <p:txBody>
          <a:bodyPr vert="horz"/>
          <a:lstStyle>
            <a:lvl1pPr>
              <a:defRPr>
                <a:latin typeface="72 Brand" panose="020B0504030603020204" pitchFamily="34" charset="0"/>
              </a:defRPr>
            </a:lvl1pPr>
          </a:lstStyle>
          <a:p>
            <a:r>
              <a:rPr lang="en-US" noProof="0"/>
              <a:t>Insert page title (sentence case)</a:t>
            </a:r>
            <a:endParaRPr lang="en-US"/>
          </a:p>
        </p:txBody>
      </p:sp>
    </p:spTree>
    <p:extLst>
      <p:ext uri="{BB962C8B-B14F-4D97-AF65-F5344CB8AC3E}">
        <p14:creationId xmlns:p14="http://schemas.microsoft.com/office/powerpoint/2010/main" val="328337803"/>
      </p:ext>
    </p:extLst>
  </p:cSld>
  <p:clrMapOvr>
    <a:masterClrMapping/>
  </p:clrMapOvr>
  <p:extLst>
    <p:ext uri="{DCECCB84-F9BA-43D5-87BE-67443E8EF086}">
      <p15:sldGuideLst xmlns:p15="http://schemas.microsoft.com/office/powerpoint/2012/main">
        <p15:guide id="3" pos="7364">
          <p15:clr>
            <a:srgbClr val="FBAE40"/>
          </p15:clr>
        </p15:guide>
        <p15:guide id="4" pos="3674">
          <p15:clr>
            <a:srgbClr val="FBAE40"/>
          </p15:clr>
        </p15:guide>
        <p15:guide id="5" pos="400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7CA06C2-85E3-E36B-A5EB-6EB6585DB2BE}"/>
              </a:ext>
            </a:extLst>
          </p:cNvPr>
          <p:cNvGraphicFramePr>
            <a:graphicFrameLocks noChangeAspect="1"/>
          </p:cNvGraphicFramePr>
          <p:nvPr userDrawn="1">
            <p:custDataLst>
              <p:tags r:id="rId1"/>
            </p:custDataLst>
            <p:extLst>
              <p:ext uri="{D42A27DB-BD31-4B8C-83A1-F6EECF244321}">
                <p14:modId xmlns:p14="http://schemas.microsoft.com/office/powerpoint/2010/main" val="1909201453"/>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think-cell data - do not delete" hidden="1">
                        <a:extLst>
                          <a:ext uri="{FF2B5EF4-FFF2-40B4-BE49-F238E27FC236}">
                            <a16:creationId xmlns:a16="http://schemas.microsoft.com/office/drawing/2014/main" id="{77CA06C2-85E3-E36B-A5EB-6EB6585DB2BE}"/>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spTree>
    <p:extLst>
      <p:ext uri="{BB962C8B-B14F-4D97-AF65-F5344CB8AC3E}">
        <p14:creationId xmlns:p14="http://schemas.microsoft.com/office/powerpoint/2010/main" val="2398907005"/>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Divider_Dark blue anvi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40883-AD72-3F8D-500C-471255DB03E8}"/>
              </a:ext>
            </a:extLst>
          </p:cNvPr>
          <p:cNvGraphicFramePr>
            <a:graphicFrameLocks noChangeAspect="1"/>
          </p:cNvGraphicFramePr>
          <p:nvPr userDrawn="1">
            <p:custDataLst>
              <p:tags r:id="rId1"/>
            </p:custDataLst>
            <p:extLst>
              <p:ext uri="{D42A27DB-BD31-4B8C-83A1-F6EECF244321}">
                <p14:modId xmlns:p14="http://schemas.microsoft.com/office/powerpoint/2010/main" val="251206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D9C40883-AD72-3F8D-500C-471255DB0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 0" descr="preencoded.png">
            <a:extLst>
              <a:ext uri="{FF2B5EF4-FFF2-40B4-BE49-F238E27FC236}">
                <a16:creationId xmlns:a16="http://schemas.microsoft.com/office/drawing/2014/main" id="{3DA376DC-B768-2BE5-02D5-A05F6FC9AF6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 y="0"/>
            <a:ext cx="12195175" cy="6861496"/>
          </a:xfrm>
          <a:prstGeom prst="rect">
            <a:avLst/>
          </a:prstGeom>
        </p:spPr>
      </p:pic>
      <p:sp>
        <p:nvSpPr>
          <p:cNvPr id="10" name="Rectangle 9">
            <a:extLst>
              <a:ext uri="{FF2B5EF4-FFF2-40B4-BE49-F238E27FC236}">
                <a16:creationId xmlns:a16="http://schemas.microsoft.com/office/drawing/2014/main" id="{2C82F8C1-1CB2-FB52-30BD-609421A4BDB1}"/>
              </a:ext>
            </a:extLst>
          </p:cNvPr>
          <p:cNvSpPr/>
          <p:nvPr userDrawn="1"/>
        </p:nvSpPr>
        <p:spPr bwMode="gray">
          <a:xfrm>
            <a:off x="1" y="-3496"/>
            <a:ext cx="12195175" cy="6861496"/>
          </a:xfrm>
          <a:prstGeom prst="rect">
            <a:avLst/>
          </a:prstGeom>
          <a:solidFill>
            <a:schemeClr val="tx1">
              <a:alpha val="20000"/>
            </a:schemeClr>
          </a:solidFill>
          <a:ln w="254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algn="l" defTabSz="913121" eaLnBrk="1" fontAlgn="base" latinLnBrk="0" hangingPunct="1">
              <a:lnSpc>
                <a:spcPct val="100000"/>
              </a:lnSpc>
              <a:spcBef>
                <a:spcPct val="50000"/>
              </a:spcBef>
              <a:spcAft>
                <a:spcPct val="0"/>
              </a:spcAft>
              <a:buClr>
                <a:srgbClr val="F0AB00"/>
              </a:buClr>
              <a:buSzPct val="80000"/>
              <a:tabLst/>
            </a:pPr>
            <a:endParaRPr kumimoji="0" lang="en-US" sz="1399" b="0" i="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Divider text"/>
          <p:cNvSpPr>
            <a:spLocks noGrp="1"/>
          </p:cNvSpPr>
          <p:nvPr>
            <p:ph type="ctrTitle" hasCustomPrompt="1"/>
          </p:nvPr>
        </p:nvSpPr>
        <p:spPr bwMode="black">
          <a:xfrm>
            <a:off x="504000" y="3090446"/>
            <a:ext cx="11185200" cy="677108"/>
          </a:xfrm>
        </p:spPr>
        <p:txBody>
          <a:bodyPr vert="horz" anchor="ctr" anchorCtr="0">
            <a:noAutofit/>
          </a:bodyPr>
          <a:lstStyle>
            <a:lvl1pPr>
              <a:defRPr sz="4395" b="0" i="0">
                <a:solidFill>
                  <a:schemeClr val="bg1"/>
                </a:solidFill>
                <a:latin typeface="72 Brand Medium" panose="020B0504030603020204" pitchFamily="34" charset="0"/>
              </a:defRPr>
            </a:lvl1pPr>
          </a:lstStyle>
          <a:p>
            <a:r>
              <a:rPr lang="en-US"/>
              <a:t>Divider page</a:t>
            </a:r>
            <a:endParaRPr lang="de-DE"/>
          </a:p>
        </p:txBody>
      </p:sp>
      <p:sp>
        <p:nvSpPr>
          <p:cNvPr id="9" name="Rectangle 8">
            <a:extLst>
              <a:ext uri="{FF2B5EF4-FFF2-40B4-BE49-F238E27FC236}">
                <a16:creationId xmlns:a16="http://schemas.microsoft.com/office/drawing/2014/main" id="{7B3714C1-3D10-20AB-97E2-E2A0E9FBFD50}"/>
              </a:ext>
            </a:extLst>
          </p:cNvPr>
          <p:cNvSpPr/>
          <p:nvPr userDrawn="1"/>
        </p:nvSpPr>
        <p:spPr bwMode="gray">
          <a:xfrm>
            <a:off x="823609" y="577174"/>
            <a:ext cx="914400" cy="914400"/>
          </a:xfrm>
          <a:prstGeom prst="rect">
            <a:avLst/>
          </a:prstGeom>
          <a:noFill/>
          <a:ln w="25400" algn="ctr">
            <a:noFill/>
            <a:miter lim="800000"/>
            <a:headEnd/>
            <a:tailEnd/>
          </a:ln>
          <a:extLst>
            <a:ext uri="{91240B29-F687-4F45-9708-019B960494DF}">
              <a14:hiddenLine xmlns:a14="http://schemas.microsoft.com/office/drawing/2010/main" w="25400" algn="ctr">
                <a:solidFill>
                  <a:schemeClr val="tx1"/>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algn="l" defTabSz="913121" eaLnBrk="1" fontAlgn="base" latinLnBrk="0" hangingPunct="1">
              <a:lnSpc>
                <a:spcPct val="100000"/>
              </a:lnSpc>
              <a:spcBef>
                <a:spcPct val="50000"/>
              </a:spcBef>
              <a:spcAft>
                <a:spcPct val="0"/>
              </a:spcAft>
              <a:buClr>
                <a:srgbClr val="F0AB00"/>
              </a:buClr>
              <a:buSzPct val="80000"/>
              <a:tabLst/>
            </a:pPr>
            <a:endParaRPr kumimoji="0" lang="en-US" sz="1399" b="0" i="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91026030"/>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ivider_Dark blue anvil">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9C40883-AD72-3F8D-500C-471255DB03E8}"/>
              </a:ext>
            </a:extLst>
          </p:cNvPr>
          <p:cNvGraphicFramePr>
            <a:graphicFrameLocks noChangeAspect="1"/>
          </p:cNvGraphicFramePr>
          <p:nvPr userDrawn="1">
            <p:custDataLst>
              <p:tags r:id="rId1"/>
            </p:custDataLst>
            <p:extLst>
              <p:ext uri="{D42A27DB-BD31-4B8C-83A1-F6EECF244321}">
                <p14:modId xmlns:p14="http://schemas.microsoft.com/office/powerpoint/2010/main" val="3073624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think-cell data - do not delete" hidden="1">
                        <a:extLst>
                          <a:ext uri="{FF2B5EF4-FFF2-40B4-BE49-F238E27FC236}">
                            <a16:creationId xmlns:a16="http://schemas.microsoft.com/office/drawing/2014/main" id="{D9C40883-AD72-3F8D-500C-471255DB03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Image 0" descr="preencoded.png">
            <a:extLst>
              <a:ext uri="{FF2B5EF4-FFF2-40B4-BE49-F238E27FC236}">
                <a16:creationId xmlns:a16="http://schemas.microsoft.com/office/drawing/2014/main" id="{3DA376DC-B768-2BE5-02D5-A05F6FC9AF60}"/>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 y="0"/>
            <a:ext cx="12195175" cy="6861496"/>
          </a:xfrm>
          <a:prstGeom prst="rect">
            <a:avLst/>
          </a:prstGeom>
        </p:spPr>
      </p:pic>
      <p:sp>
        <p:nvSpPr>
          <p:cNvPr id="10" name="Rectangle 9">
            <a:extLst>
              <a:ext uri="{FF2B5EF4-FFF2-40B4-BE49-F238E27FC236}">
                <a16:creationId xmlns:a16="http://schemas.microsoft.com/office/drawing/2014/main" id="{2C82F8C1-1CB2-FB52-30BD-609421A4BDB1}"/>
              </a:ext>
            </a:extLst>
          </p:cNvPr>
          <p:cNvSpPr/>
          <p:nvPr userDrawn="1"/>
        </p:nvSpPr>
        <p:spPr bwMode="gray">
          <a:xfrm>
            <a:off x="1" y="-3496"/>
            <a:ext cx="12195175" cy="6861496"/>
          </a:xfrm>
          <a:prstGeom prst="rect">
            <a:avLst/>
          </a:prstGeom>
          <a:solidFill>
            <a:schemeClr val="tx1">
              <a:alpha val="20000"/>
            </a:schemeClr>
          </a:solidFill>
          <a:ln w="254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algn="l" defTabSz="913121" eaLnBrk="1" fontAlgn="base" latinLnBrk="0" hangingPunct="1">
              <a:lnSpc>
                <a:spcPct val="100000"/>
              </a:lnSpc>
              <a:spcBef>
                <a:spcPct val="50000"/>
              </a:spcBef>
              <a:spcAft>
                <a:spcPct val="0"/>
              </a:spcAft>
              <a:buClr>
                <a:srgbClr val="F0AB00"/>
              </a:buClr>
              <a:buSzPct val="80000"/>
              <a:tabLst/>
            </a:pPr>
            <a:endParaRPr kumimoji="0" lang="en-US" sz="1399" b="0" i="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sp>
        <p:nvSpPr>
          <p:cNvPr id="2" name="Divider text"/>
          <p:cNvSpPr>
            <a:spLocks noGrp="1"/>
          </p:cNvSpPr>
          <p:nvPr>
            <p:ph type="ctrTitle" hasCustomPrompt="1"/>
          </p:nvPr>
        </p:nvSpPr>
        <p:spPr bwMode="black">
          <a:xfrm>
            <a:off x="504000" y="3090446"/>
            <a:ext cx="11185200" cy="677108"/>
          </a:xfrm>
        </p:spPr>
        <p:txBody>
          <a:bodyPr vert="horz" anchor="ctr" anchorCtr="0">
            <a:noAutofit/>
          </a:bodyPr>
          <a:lstStyle>
            <a:lvl1pPr>
              <a:defRPr sz="4395" b="0" i="0">
                <a:solidFill>
                  <a:schemeClr val="bg1"/>
                </a:solidFill>
                <a:latin typeface="72 Brand Medium" panose="020B0504030603020204" pitchFamily="34" charset="0"/>
              </a:defRPr>
            </a:lvl1pPr>
          </a:lstStyle>
          <a:p>
            <a:r>
              <a:rPr lang="en-US"/>
              <a:t>Divider page</a:t>
            </a:r>
            <a:endParaRPr lang="de-DE"/>
          </a:p>
        </p:txBody>
      </p:sp>
      <p:sp>
        <p:nvSpPr>
          <p:cNvPr id="9" name="Rectangle 8">
            <a:extLst>
              <a:ext uri="{FF2B5EF4-FFF2-40B4-BE49-F238E27FC236}">
                <a16:creationId xmlns:a16="http://schemas.microsoft.com/office/drawing/2014/main" id="{7B3714C1-3D10-20AB-97E2-E2A0E9FBFD50}"/>
              </a:ext>
            </a:extLst>
          </p:cNvPr>
          <p:cNvSpPr/>
          <p:nvPr userDrawn="1"/>
        </p:nvSpPr>
        <p:spPr bwMode="gray">
          <a:xfrm>
            <a:off x="823609" y="577174"/>
            <a:ext cx="914400" cy="914400"/>
          </a:xfrm>
          <a:prstGeom prst="rect">
            <a:avLst/>
          </a:prstGeom>
          <a:noFill/>
          <a:ln w="25400" algn="ctr">
            <a:noFill/>
            <a:miter lim="800000"/>
            <a:headEnd/>
            <a:tailEnd/>
          </a:ln>
          <a:extLst>
            <a:ext uri="{91240B29-F687-4F45-9708-019B960494DF}">
              <a14:hiddenLine xmlns:a14="http://schemas.microsoft.com/office/drawing/2010/main" w="25400" algn="ctr">
                <a:solidFill>
                  <a:schemeClr val="tx1"/>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R="0" algn="l" defTabSz="913121" eaLnBrk="1" fontAlgn="base" latinLnBrk="0" hangingPunct="1">
              <a:lnSpc>
                <a:spcPct val="100000"/>
              </a:lnSpc>
              <a:spcBef>
                <a:spcPct val="50000"/>
              </a:spcBef>
              <a:spcAft>
                <a:spcPct val="0"/>
              </a:spcAft>
              <a:buClr>
                <a:srgbClr val="F0AB00"/>
              </a:buClr>
              <a:buSzPct val="80000"/>
              <a:tabLst/>
            </a:pPr>
            <a:endParaRPr kumimoji="0" lang="en-US" sz="1399" b="0" i="0" u="none" strike="noStrike" kern="0" cap="none" spc="0" normalizeH="0" baseline="0" noProof="0" err="1">
              <a:ln>
                <a:noFill/>
              </a:ln>
              <a:effectLst/>
              <a:uLnTx/>
              <a:uFillTx/>
              <a:latin typeface="72 Brand" panose="020B0504030603020204" pitchFamily="34" charset="0"/>
              <a:ea typeface="Arial Unicode MS" pitchFamily="34" charset="-128"/>
              <a:cs typeface="Arial Unicode MS" pitchFamily="34" charset="-128"/>
            </a:endParaRPr>
          </a:p>
        </p:txBody>
      </p:sp>
    </p:spTree>
    <p:extLst>
      <p:ext uri="{BB962C8B-B14F-4D97-AF65-F5344CB8AC3E}">
        <p14:creationId xmlns:p14="http://schemas.microsoft.com/office/powerpoint/2010/main" val="1294032804"/>
      </p:ext>
    </p:extLst>
  </p:cSld>
  <p:clrMapOvr>
    <a:masterClrMapping/>
  </p:clrMapOvr>
  <p:hf sldNum="0" hdr="0" ftr="0" dt="0"/>
  <p:extLst>
    <p:ext uri="{DCECCB84-F9BA-43D5-87BE-67443E8EF086}">
      <p15:sldGuideLst xmlns:p15="http://schemas.microsoft.com/office/powerpoint/2012/main">
        <p15:guide id="1" pos="303">
          <p15:clr>
            <a:srgbClr val="FBAE40"/>
          </p15:clr>
        </p15:guide>
        <p15:guide id="2" orient="horz" pos="2160">
          <p15:clr>
            <a:srgbClr val="FBAE40"/>
          </p15:clr>
        </p15:guide>
        <p15:guide id="3" pos="73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With cover with image">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581055-0688-17AB-2DE1-5F631D02D70D}"/>
              </a:ext>
            </a:extLst>
          </p:cNvPr>
          <p:cNvGraphicFramePr>
            <a:graphicFrameLocks noChangeAspect="1"/>
          </p:cNvGraphicFramePr>
          <p:nvPr userDrawn="1">
            <p:custDataLst>
              <p:tags r:id="rId1"/>
            </p:custDataLst>
            <p:extLst>
              <p:ext uri="{D42A27DB-BD31-4B8C-83A1-F6EECF244321}">
                <p14:modId xmlns:p14="http://schemas.microsoft.com/office/powerpoint/2010/main" val="4229375246"/>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think-cell data - do not delete" hidden="1">
                        <a:extLst>
                          <a:ext uri="{FF2B5EF4-FFF2-40B4-BE49-F238E27FC236}">
                            <a16:creationId xmlns:a16="http://schemas.microsoft.com/office/drawing/2014/main" id="{26581055-0688-17AB-2DE1-5F631D02D70D}"/>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6" name="Picture 5" descr="title image of presentation. Showing a bridge over water with three anvils, symbolizing AI+Data+Applications">
            <a:extLst>
              <a:ext uri="{FF2B5EF4-FFF2-40B4-BE49-F238E27FC236}">
                <a16:creationId xmlns:a16="http://schemas.microsoft.com/office/drawing/2014/main" id="{8F16AA92-9FE3-D51A-13E5-CF318091E34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 y="2606"/>
            <a:ext cx="12195175" cy="6852788"/>
          </a:xfrm>
          <a:prstGeom prst="rect">
            <a:avLst/>
          </a:prstGeom>
        </p:spPr>
      </p:pic>
      <p:pic>
        <p:nvPicPr>
          <p:cNvPr id="28936725" name="Acquired Company Logo Placeholder" descr="{&quot;templafy&quot;:{&quot;id&quot;:&quot;e24a6e43-600a-4c6b-89de-bcf3787a4fa8&quot;}}" hidden="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1" y="2706317"/>
            <a:ext cx="6026739" cy="997196"/>
          </a:xfrm>
        </p:spPr>
        <p:txBody>
          <a:bodyPr vert="horz">
            <a:noAutofit/>
          </a:bodyPr>
          <a:lstStyle>
            <a:lvl1pPr>
              <a:lnSpc>
                <a:spcPct val="90000"/>
              </a:lnSpc>
              <a:defRPr sz="3598" b="0" i="0">
                <a:latin typeface="72 Brand Medium" panose="020B0504030603020204" pitchFamily="34" charset="0"/>
                <a:cs typeface="72 Brand" panose="020B0504030603020204" pitchFamily="34" charset="0"/>
              </a:defRPr>
            </a:lvl1pPr>
          </a:lstStyle>
          <a:p>
            <a:pPr fontAlgn="base">
              <a:spcBef>
                <a:spcPct val="50000"/>
              </a:spcBef>
              <a:spcAft>
                <a:spcPct val="0"/>
              </a:spcAft>
              <a:buClr>
                <a:srgbClr val="F0AB00"/>
              </a:buClr>
              <a:buSzPct val="80000"/>
            </a:pPr>
            <a:r>
              <a:rPr lang="en-US"/>
              <a:t>Title goes here</a:t>
            </a:r>
            <a:br>
              <a:rPr lang="en-US"/>
            </a:br>
            <a:r>
              <a:rPr lang="en-US"/>
              <a:t>and here and here</a:t>
            </a:r>
            <a:endParaRPr lang="de-DE" sz="3598" kern="0">
              <a:ea typeface="72 Brand" pitchFamily="34" charset="-128"/>
              <a:cs typeface="72 Brand" pitchFamily="34" charset="-128"/>
            </a:endParaRPr>
          </a:p>
        </p:txBody>
      </p:sp>
      <p:sp>
        <p:nvSpPr>
          <p:cNvPr id="3" name="Classification-Dynamic" descr="{&quot;templafy&quot;:{&quot;id&quot;:&quot;91778e7e-bfe3-4158-8801-de9d31379f58&quot;}}">
            <a:extLst>
              <a:ext uri="{FF2B5EF4-FFF2-40B4-BE49-F238E27FC236}">
                <a16:creationId xmlns:a16="http://schemas.microsoft.com/office/drawing/2014/main" id="{4A078429-99DD-7555-B0F4-FEF46FD297B0}"/>
              </a:ext>
            </a:extLst>
          </p:cNvPr>
          <p:cNvSpPr txBox="1"/>
          <p:nvPr userDrawn="1"/>
        </p:nvSpPr>
        <p:spPr>
          <a:xfrm>
            <a:off x="282575" y="6157830"/>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800" b="0" i="0">
                <a:solidFill>
                  <a:schemeClr val="bg1"/>
                </a:solidFill>
                <a:latin typeface="72 Brand" panose="020B0504030603020204" pitchFamily="34" charset="0"/>
              </a:rPr>
              <a:t>CONFIDENTIAL</a:t>
            </a:r>
            <a:endParaRPr lang="en-US" sz="999" b="0" i="0" kern="0">
              <a:solidFill>
                <a:schemeClr val="bg1"/>
              </a:solidFill>
              <a:latin typeface="72 Brand" panose="020B0504030603020204" pitchFamily="34" charset="0"/>
              <a:ea typeface="72 Brand" pitchFamily="34" charset="-128"/>
              <a:cs typeface="72 Brand" pitchFamily="34" charset="-128"/>
            </a:endParaRPr>
          </a:p>
        </p:txBody>
      </p:sp>
    </p:spTree>
    <p:extLst>
      <p:ext uri="{BB962C8B-B14F-4D97-AF65-F5344CB8AC3E}">
        <p14:creationId xmlns:p14="http://schemas.microsoft.com/office/powerpoint/2010/main" val="39456151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p15:clr>
            <a:srgbClr val="FBAE40"/>
          </p15:clr>
        </p15:guide>
        <p15:guide id="3" orient="horz" pos="2688">
          <p15:clr>
            <a:srgbClr val="FBAE40"/>
          </p15:clr>
        </p15:guide>
        <p15:guide id="4" orient="horz" pos="2334">
          <p15:clr>
            <a:srgbClr val="FBAE40"/>
          </p15:clr>
        </p15:guide>
        <p15:guide id="5" orient="horz" pos="2999">
          <p15:clr>
            <a:srgbClr val="FBAE40"/>
          </p15:clr>
        </p15:guide>
        <p15:guide id="7" orient="horz" pos="414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ight blue cover with anvil">
    <p:bg>
      <p:bgRef idx="1001">
        <a:schemeClr val="bg1"/>
      </p:bgRef>
    </p:bg>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581FAEF7-1ACD-83AC-7B42-761E6A30387F}"/>
              </a:ext>
            </a:extLst>
          </p:cNvPr>
          <p:cNvSpPr/>
          <p:nvPr userDrawn="1"/>
        </p:nvSpPr>
        <p:spPr bwMode="gray">
          <a:xfrm>
            <a:off x="0" y="0"/>
            <a:ext cx="12195175" cy="6858000"/>
          </a:xfrm>
          <a:prstGeom prst="rect">
            <a:avLst/>
          </a:prstGeom>
          <a:solidFill>
            <a:srgbClr val="A6E0FF">
              <a:alpha val="42715"/>
            </a:srgbClr>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2" name="Anvil" descr="preencoded.png">
            <a:extLst>
              <a:ext uri="{FF2B5EF4-FFF2-40B4-BE49-F238E27FC236}">
                <a16:creationId xmlns:a16="http://schemas.microsoft.com/office/drawing/2014/main" id="{94093846-CC07-3993-CA62-86004F1C03F9}"/>
              </a:ext>
            </a:extLst>
          </p:cNvPr>
          <p:cNvSpPr/>
          <p:nvPr/>
        </p:nvSpPr>
        <p:spPr>
          <a:xfrm>
            <a:off x="1671629" y="1247336"/>
            <a:ext cx="8851917" cy="4363327"/>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A6E0FF"/>
          </a:solidFill>
          <a:ln w="15238" cap="flat">
            <a:noFill/>
            <a:prstDash val="solid"/>
            <a:miter/>
          </a:ln>
        </p:spPr>
        <p:txBody>
          <a:bodyPr rtlCol="0" anchor="ctr"/>
          <a:lstStyle/>
          <a:p>
            <a:endParaRPr lang="en-US" b="0" i="0" dirty="0">
              <a:latin typeface="72 Brand" panose="020B0504030603020204" pitchFamily="34" charset="0"/>
            </a:endParaRPr>
          </a:p>
        </p:txBody>
      </p:sp>
      <p:sp>
        <p:nvSpPr>
          <p:cNvPr id="8" name="Title">
            <a:extLst>
              <a:ext uri="{FF2B5EF4-FFF2-40B4-BE49-F238E27FC236}">
                <a16:creationId xmlns:a16="http://schemas.microsoft.com/office/drawing/2014/main" id="{1098B98B-8FDE-5B19-2FC7-97058A6B53FD}"/>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235404838" name="LogoBlack-Dynamic" descr="{&quot;templafy&quot;:{&quot;id&quot;:&quot;8d82a49b-643e-4946-9e88-fbf17c3fbd86&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3" name="Classification-Dynamic" descr="{&quot;templafy&quot;:{&quot;id&quot;:&quot;f463d0f3-3f2e-4731-9aec-d6af87b3e34d&quot;}}">
            <a:extLst>
              <a:ext uri="{FF2B5EF4-FFF2-40B4-BE49-F238E27FC236}">
                <a16:creationId xmlns:a16="http://schemas.microsoft.com/office/drawing/2014/main" id="{D417CEF6-1FCD-75B6-FA13-C583ECCE7BE5}"/>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31597554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1B90FF"/>
          </a:solidFill>
          <a:ln w="11289" cap="flat">
            <a:noFill/>
            <a:prstDash val="solid"/>
            <a:miter/>
          </a:ln>
        </p:spPr>
        <p:txBody>
          <a:bodyPr rtlCol="0" anchor="ctr"/>
          <a:lstStyle/>
          <a:p>
            <a:endParaRPr lang="en-US" b="0" i="0" dirty="0">
              <a:latin typeface="72 Brand" panose="020B0504030603020204" pitchFamily="34" charset="0"/>
            </a:endParaRPr>
          </a:p>
        </p:txBody>
      </p:sp>
      <p:sp>
        <p:nvSpPr>
          <p:cNvPr id="5" name="Anvil" descr="preencoded.png">
            <a:extLst>
              <a:ext uri="{FF2B5EF4-FFF2-40B4-BE49-F238E27FC236}">
                <a16:creationId xmlns:a16="http://schemas.microsoft.com/office/drawing/2014/main" id="{2384FC7E-529D-ABDF-A914-031C308F2C30}"/>
              </a:ext>
            </a:extLst>
          </p:cNvPr>
          <p:cNvSpPr/>
          <p:nvPr userDrawn="1"/>
        </p:nvSpPr>
        <p:spPr>
          <a:xfrm>
            <a:off x="780374" y="1275475"/>
            <a:ext cx="7983802" cy="3935411"/>
          </a:xfrm>
          <a:custGeom>
            <a:avLst/>
            <a:gdLst>
              <a:gd name="connsiteX0" fmla="*/ 0 w 8851917"/>
              <a:gd name="connsiteY0" fmla="*/ 0 h 4363327"/>
              <a:gd name="connsiteX1" fmla="*/ 0 w 8851917"/>
              <a:gd name="connsiteY1" fmla="*/ 4363327 h 4363327"/>
              <a:gd name="connsiteX2" fmla="*/ 4498517 w 8851917"/>
              <a:gd name="connsiteY2" fmla="*/ 4363327 h 4363327"/>
              <a:gd name="connsiteX3" fmla="*/ 8851917 w 8851917"/>
              <a:gd name="connsiteY3" fmla="*/ 0 h 4363327"/>
              <a:gd name="connsiteX4" fmla="*/ 0 w 8851917"/>
              <a:gd name="connsiteY4" fmla="*/ 0 h 43633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51917" h="4363327">
                <a:moveTo>
                  <a:pt x="0" y="0"/>
                </a:moveTo>
                <a:lnTo>
                  <a:pt x="0" y="4363327"/>
                </a:lnTo>
                <a:lnTo>
                  <a:pt x="4498517" y="4363327"/>
                </a:lnTo>
                <a:lnTo>
                  <a:pt x="8851917" y="0"/>
                </a:lnTo>
                <a:lnTo>
                  <a:pt x="0" y="0"/>
                </a:lnTo>
                <a:close/>
              </a:path>
            </a:pathLst>
          </a:custGeom>
          <a:solidFill>
            <a:srgbClr val="002A86"/>
          </a:solidFill>
          <a:ln w="15238" cap="flat">
            <a:noFill/>
            <a:prstDash val="solid"/>
            <a:miter/>
          </a:ln>
        </p:spPr>
        <p:txBody>
          <a:bodyPr rtlCol="0" anchor="ctr"/>
          <a:lstStyle/>
          <a:p>
            <a:endParaRPr lang="en-US" b="0" i="0" dirty="0">
              <a:latin typeface="72 Brand" panose="020B0504030603020204" pitchFamily="34" charset="0"/>
            </a:endParaRPr>
          </a:p>
        </p:txBody>
      </p:sp>
      <p:sp>
        <p:nvSpPr>
          <p:cNvPr id="4" name="Title">
            <a:extLst>
              <a:ext uri="{FF2B5EF4-FFF2-40B4-BE49-F238E27FC236}">
                <a16:creationId xmlns:a16="http://schemas.microsoft.com/office/drawing/2014/main" id="{709C0759-3773-C728-D6A6-855D822107FE}"/>
              </a:ext>
            </a:extLst>
          </p:cNvPr>
          <p:cNvSpPr>
            <a:spLocks noGrp="1"/>
          </p:cNvSpPr>
          <p:nvPr>
            <p:ph type="title" hasCustomPrompt="1"/>
          </p:nvPr>
        </p:nvSpPr>
        <p:spPr>
          <a:xfrm>
            <a:off x="288000" y="2706317"/>
            <a:ext cx="6876593" cy="997196"/>
          </a:xfrm>
        </p:spPr>
        <p:txBody>
          <a:bodyPr>
            <a:noAutofit/>
          </a:bodyPr>
          <a:lstStyle>
            <a:lvl1pPr>
              <a:lnSpc>
                <a:spcPct val="90000"/>
              </a:lnSpc>
              <a:defRPr sz="3600" b="0" i="0">
                <a:solidFill>
                  <a:schemeClr val="bg1"/>
                </a:solidFill>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282726918" name="LogoWhite-Dynamic" descr="{&quot;templafy&quot;:{&quot;id&quot;:&quot;06df717c-c1f1-46ec-a4f6-baa6ec0bc6d7&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3" name="Classification-Dynamic" descr="{&quot;templafy&quot;:{&quot;id&quot;:&quot;e7cc4469-f7ba-4f3e-be80-4a97ba2d306e&quot;}}">
            <a:extLst>
              <a:ext uri="{FF2B5EF4-FFF2-40B4-BE49-F238E27FC236}">
                <a16:creationId xmlns:a16="http://schemas.microsoft.com/office/drawing/2014/main" id="{D67AB148-356D-F356-4E6C-9664D9EB9DF3}"/>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42932821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al cover with anvil ">
    <p:bg>
      <p:bgRef idx="1001">
        <a:schemeClr val="bg1"/>
      </p:bgRef>
    </p:bg>
    <p:spTree>
      <p:nvGrpSpPr>
        <p:cNvPr id="1" name=""/>
        <p:cNvGrpSpPr/>
        <p:nvPr/>
      </p:nvGrpSpPr>
      <p:grpSpPr>
        <a:xfrm>
          <a:off x="0" y="0"/>
          <a:ext cx="0" cy="0"/>
          <a:chOff x="0" y="0"/>
          <a:chExt cx="0" cy="0"/>
        </a:xfrm>
      </p:grpSpPr>
      <p:sp>
        <p:nvSpPr>
          <p:cNvPr id="5" name="Background" descr="preencoded.png">
            <a:extLst>
              <a:ext uri="{FF2B5EF4-FFF2-40B4-BE49-F238E27FC236}">
                <a16:creationId xmlns:a16="http://schemas.microsoft.com/office/drawing/2014/main" id="{5F3BB899-74C3-EBF7-C191-EC2863B8F536}"/>
              </a:ext>
            </a:extLst>
          </p:cNvPr>
          <p:cNvSpPr/>
          <p:nvPr/>
        </p:nvSpPr>
        <p:spPr>
          <a:xfrm>
            <a:off x="0" y="0"/>
            <a:ext cx="12195175" cy="6858000"/>
          </a:xfrm>
          <a:custGeom>
            <a:avLst/>
            <a:gdLst>
              <a:gd name="connsiteX0" fmla="*/ 0 w 12195175"/>
              <a:gd name="connsiteY0" fmla="*/ 0 h 6858000"/>
              <a:gd name="connsiteX1" fmla="*/ 12195175 w 12195175"/>
              <a:gd name="connsiteY1" fmla="*/ 0 h 6858000"/>
              <a:gd name="connsiteX2" fmla="*/ 12195175 w 12195175"/>
              <a:gd name="connsiteY2" fmla="*/ 6858000 h 6858000"/>
              <a:gd name="connsiteX3" fmla="*/ 0 w 1219517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5175" h="6858000">
                <a:moveTo>
                  <a:pt x="0" y="0"/>
                </a:moveTo>
                <a:lnTo>
                  <a:pt x="12195175" y="0"/>
                </a:lnTo>
                <a:lnTo>
                  <a:pt x="12195175" y="6858000"/>
                </a:lnTo>
                <a:lnTo>
                  <a:pt x="0" y="6858000"/>
                </a:lnTo>
                <a:close/>
              </a:path>
            </a:pathLst>
          </a:custGeom>
          <a:solidFill>
            <a:srgbClr val="00CEAC"/>
          </a:solidFill>
          <a:ln w="11289" cap="flat">
            <a:noFill/>
            <a:prstDash val="solid"/>
            <a:miter/>
          </a:ln>
        </p:spPr>
        <p:txBody>
          <a:bodyPr rtlCol="0" anchor="ctr"/>
          <a:lstStyle/>
          <a:p>
            <a:endParaRPr lang="en-US"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F36DF1A0-33EF-D4BF-029F-2435A3EF8C01}"/>
              </a:ext>
            </a:extLst>
          </p:cNvPr>
          <p:cNvSpPr/>
          <p:nvPr/>
        </p:nvSpPr>
        <p:spPr>
          <a:xfrm>
            <a:off x="1503604" y="989322"/>
            <a:ext cx="9187967" cy="4528975"/>
          </a:xfrm>
          <a:custGeom>
            <a:avLst/>
            <a:gdLst>
              <a:gd name="connsiteX0" fmla="*/ 0 w 9187967"/>
              <a:gd name="connsiteY0" fmla="*/ 0 h 4528975"/>
              <a:gd name="connsiteX1" fmla="*/ 0 w 9187967"/>
              <a:gd name="connsiteY1" fmla="*/ 4528975 h 4528975"/>
              <a:gd name="connsiteX2" fmla="*/ 4669297 w 9187967"/>
              <a:gd name="connsiteY2" fmla="*/ 4528975 h 4528975"/>
              <a:gd name="connsiteX3" fmla="*/ 9187967 w 9187967"/>
              <a:gd name="connsiteY3" fmla="*/ 0 h 4528975"/>
              <a:gd name="connsiteX4" fmla="*/ 0 w 9187967"/>
              <a:gd name="connsiteY4" fmla="*/ 0 h 45289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7967" h="4528975">
                <a:moveTo>
                  <a:pt x="0" y="0"/>
                </a:moveTo>
                <a:lnTo>
                  <a:pt x="0" y="4528975"/>
                </a:lnTo>
                <a:lnTo>
                  <a:pt x="4669297" y="4528975"/>
                </a:lnTo>
                <a:lnTo>
                  <a:pt x="9187967" y="0"/>
                </a:lnTo>
                <a:lnTo>
                  <a:pt x="0" y="0"/>
                </a:lnTo>
                <a:close/>
              </a:path>
            </a:pathLst>
          </a:custGeom>
          <a:solidFill>
            <a:srgbClr val="63EDD4"/>
          </a:solidFill>
          <a:ln w="12596" cap="flat">
            <a:noFill/>
            <a:prstDash val="solid"/>
            <a:miter/>
          </a:ln>
        </p:spPr>
        <p:txBody>
          <a:bodyPr rtlCol="0" anchor="ctr"/>
          <a:lstStyle/>
          <a:p>
            <a:endParaRPr lang="en-US" b="0" i="0" dirty="0">
              <a:latin typeface="72 Brand" panose="020B0504030603020204" pitchFamily="34" charset="0"/>
            </a:endParaRPr>
          </a:p>
        </p:txBody>
      </p:sp>
      <p:sp>
        <p:nvSpPr>
          <p:cNvPr id="9" name="Title">
            <a:extLst>
              <a:ext uri="{FF2B5EF4-FFF2-40B4-BE49-F238E27FC236}">
                <a16:creationId xmlns:a16="http://schemas.microsoft.com/office/drawing/2014/main" id="{5515F5CA-E76C-CC3B-68A7-37E88873AB4B}"/>
              </a:ext>
            </a:extLst>
          </p:cNvPr>
          <p:cNvSpPr>
            <a:spLocks noGrp="1"/>
          </p:cNvSpPr>
          <p:nvPr>
            <p:ph type="title" hasCustomPrompt="1"/>
          </p:nvPr>
        </p:nvSpPr>
        <p:spPr>
          <a:xfrm>
            <a:off x="288000" y="2706317"/>
            <a:ext cx="5929920"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468408818" name="LogoBlack-Dynamic" descr="{&quot;templafy&quot;:{&quot;id&quot;:&quot;b5f92321-4f0f-42d3-b938-f9f91cf980e6&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3" name="Classification-Dynamic" descr="{&quot;templafy&quot;:{&quot;id&quot;:&quot;1769c1b8-3991-4501-a5eb-c57fac8697cc&quot;}}">
            <a:extLst>
              <a:ext uri="{FF2B5EF4-FFF2-40B4-BE49-F238E27FC236}">
                <a16:creationId xmlns:a16="http://schemas.microsoft.com/office/drawing/2014/main" id="{BBFBBDC3-D031-6041-465D-9F7147F423CF}"/>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29102200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ith cover with imag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3FFCA81-9D1B-7BE9-9F97-BEDB3E67519A}"/>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72 Brand" panose="020B0504030603020204" pitchFamily="34" charset="0"/>
              <a:ea typeface="72 Brand" pitchFamily="34" charset="-128"/>
              <a:cs typeface="72 Brand" pitchFamily="34" charset="-128"/>
            </a:endParaRPr>
          </a:p>
        </p:txBody>
      </p:sp>
      <p:sp>
        <p:nvSpPr>
          <p:cNvPr id="6" name="Picture Placeholder 5">
            <a:extLst>
              <a:ext uri="{FF2B5EF4-FFF2-40B4-BE49-F238E27FC236}">
                <a16:creationId xmlns:a16="http://schemas.microsoft.com/office/drawing/2014/main" id="{28860E7D-5DEB-5F1B-5AAF-4C41BD1A7778}"/>
              </a:ext>
            </a:extLst>
          </p:cNvPr>
          <p:cNvSpPr>
            <a:spLocks noGrp="1"/>
          </p:cNvSpPr>
          <p:nvPr>
            <p:ph type="pic" sz="quarter" idx="15" hasCustomPrompt="1"/>
          </p:nvPr>
        </p:nvSpPr>
        <p:spPr>
          <a:xfrm>
            <a:off x="6108700" y="0"/>
            <a:ext cx="6086475" cy="6858000"/>
          </a:xfrm>
        </p:spPr>
        <p:txBody>
          <a:bodyPr anchor="ctr" anchorCtr="0"/>
          <a:lstStyle>
            <a:lvl1pPr algn="ctr">
              <a:defRPr/>
            </a:lvl1pPr>
          </a:lstStyle>
          <a:p>
            <a:r>
              <a:rPr lang="en-US"/>
              <a:t>Click to insert picture</a:t>
            </a:r>
          </a:p>
        </p:txBody>
      </p:sp>
      <p:pic>
        <p:nvPicPr>
          <p:cNvPr id="28936725" name="Acquired Company Logo Placeholder" descr="{&quot;templafy&quot;:{&quot;id&quot;:&quot;e24a6e43-600a-4c6b-89de-bcf3787a4fa8&quot;}}" hidden="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2575" y="2141327"/>
            <a:ext cx="4125924" cy="266010"/>
          </a:xfrm>
          <a:prstGeom prst="rect">
            <a:avLst/>
          </a:prstGeom>
        </p:spPr>
      </p:pic>
      <p:sp>
        <p:nvSpPr>
          <p:cNvPr id="4" name="Title">
            <a:extLst>
              <a:ext uri="{FF2B5EF4-FFF2-40B4-BE49-F238E27FC236}">
                <a16:creationId xmlns:a16="http://schemas.microsoft.com/office/drawing/2014/main" id="{D8805AE3-41BC-E9DB-1A66-ADF41EDBC899}"/>
              </a:ext>
            </a:extLst>
          </p:cNvPr>
          <p:cNvSpPr>
            <a:spLocks noGrp="1"/>
          </p:cNvSpPr>
          <p:nvPr>
            <p:ph type="title" hasCustomPrompt="1"/>
          </p:nvPr>
        </p:nvSpPr>
        <p:spPr>
          <a:xfrm>
            <a:off x="288000" y="2706317"/>
            <a:ext cx="6026739" cy="997196"/>
          </a:xfrm>
        </p:spPr>
        <p:txBody>
          <a:bodyPr>
            <a:noAutofit/>
          </a:bodyPr>
          <a:lstStyle>
            <a:lvl1pPr>
              <a:lnSpc>
                <a:spcPct val="90000"/>
              </a:lnSpc>
              <a:defRPr sz="3600" b="0" i="0">
                <a:latin typeface="72 Brand Medium" panose="020B0504030603020204" pitchFamily="34" charset="0"/>
                <a:cs typeface="72" panose="020B0503030000000003"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302633313" name="LogoBlue-Dynamic" descr="{&quot;templafy&quot;:{&quot;id&quot;:&quot;fa218b91-c3ba-4bff-8e3c-898c99db9a8b&quot;}}"/>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3" name="Classification-Dynamic" descr="{&quot;templafy&quot;:{&quot;id&quot;:&quot;46238122-1a8c-46c8-bd01-0d8f0db21355&quot;}}">
            <a:extLst>
              <a:ext uri="{FF2B5EF4-FFF2-40B4-BE49-F238E27FC236}">
                <a16:creationId xmlns:a16="http://schemas.microsoft.com/office/drawing/2014/main" id="{4A078429-99DD-7555-B0F4-FEF46FD297B0}"/>
              </a:ext>
            </a:extLst>
          </p:cNvPr>
          <p:cNvSpPr txBox="1"/>
          <p:nvPr userDrawn="1"/>
        </p:nvSpPr>
        <p:spPr>
          <a:xfrm>
            <a:off x="282575"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tx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04365570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701"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ue cover with anvil and image">
    <p:bg>
      <p:bgRef idx="1001">
        <a:schemeClr val="bg1"/>
      </p:bgRef>
    </p:bg>
    <p:spTree>
      <p:nvGrpSpPr>
        <p:cNvPr id="1" name=""/>
        <p:cNvGrpSpPr/>
        <p:nvPr/>
      </p:nvGrpSpPr>
      <p:grpSpPr>
        <a:xfrm>
          <a:off x="0" y="0"/>
          <a:ext cx="0" cy="0"/>
          <a:chOff x="0" y="0"/>
          <a:chExt cx="0" cy="0"/>
        </a:xfrm>
      </p:grpSpPr>
      <p:sp>
        <p:nvSpPr>
          <p:cNvPr id="7" name="Background" descr="preencoded.png">
            <a:extLst>
              <a:ext uri="{FF2B5EF4-FFF2-40B4-BE49-F238E27FC236}">
                <a16:creationId xmlns:a16="http://schemas.microsoft.com/office/drawing/2014/main" id="{9DE307C8-D1C3-00E2-C5B0-2A7EBB981384}"/>
              </a:ext>
            </a:extLst>
          </p:cNvPr>
          <p:cNvSpPr/>
          <p:nvPr/>
        </p:nvSpPr>
        <p:spPr>
          <a:xfrm>
            <a:off x="0" y="0"/>
            <a:ext cx="12195175" cy="6861495"/>
          </a:xfrm>
          <a:custGeom>
            <a:avLst/>
            <a:gdLst>
              <a:gd name="connsiteX0" fmla="*/ 0 w 12195175"/>
              <a:gd name="connsiteY0" fmla="*/ 0 h 6861495"/>
              <a:gd name="connsiteX1" fmla="*/ 12195175 w 12195175"/>
              <a:gd name="connsiteY1" fmla="*/ 0 h 6861495"/>
              <a:gd name="connsiteX2" fmla="*/ 12195175 w 12195175"/>
              <a:gd name="connsiteY2" fmla="*/ 6861496 h 6861495"/>
              <a:gd name="connsiteX3" fmla="*/ 0 w 12195175"/>
              <a:gd name="connsiteY3" fmla="*/ 6861496 h 6861495"/>
            </a:gdLst>
            <a:ahLst/>
            <a:cxnLst>
              <a:cxn ang="0">
                <a:pos x="connsiteX0" y="connsiteY0"/>
              </a:cxn>
              <a:cxn ang="0">
                <a:pos x="connsiteX1" y="connsiteY1"/>
              </a:cxn>
              <a:cxn ang="0">
                <a:pos x="connsiteX2" y="connsiteY2"/>
              </a:cxn>
              <a:cxn ang="0">
                <a:pos x="connsiteX3" y="connsiteY3"/>
              </a:cxn>
            </a:cxnLst>
            <a:rect l="l" t="t" r="r" b="b"/>
            <a:pathLst>
              <a:path w="12195175" h="6861495">
                <a:moveTo>
                  <a:pt x="0" y="0"/>
                </a:moveTo>
                <a:lnTo>
                  <a:pt x="12195175" y="0"/>
                </a:lnTo>
                <a:lnTo>
                  <a:pt x="12195175" y="6861496"/>
                </a:lnTo>
                <a:lnTo>
                  <a:pt x="0" y="6861496"/>
                </a:lnTo>
                <a:close/>
              </a:path>
            </a:pathLst>
          </a:custGeom>
          <a:solidFill>
            <a:srgbClr val="0057D2"/>
          </a:solidFill>
          <a:ln w="10160" cap="flat">
            <a:noFill/>
            <a:prstDash val="solid"/>
            <a:miter/>
          </a:ln>
        </p:spPr>
        <p:txBody>
          <a:bodyPr rtlCol="0" anchor="ctr"/>
          <a:lstStyle/>
          <a:p>
            <a:endParaRPr lang="en-US" b="0" i="0" dirty="0">
              <a:latin typeface="72 Brand" panose="020B0504030603020204" pitchFamily="34" charset="0"/>
            </a:endParaRPr>
          </a:p>
        </p:txBody>
      </p:sp>
      <p:sp>
        <p:nvSpPr>
          <p:cNvPr id="6" name="Anvil" descr="preencoded.png">
            <a:extLst>
              <a:ext uri="{FF2B5EF4-FFF2-40B4-BE49-F238E27FC236}">
                <a16:creationId xmlns:a16="http://schemas.microsoft.com/office/drawing/2014/main" id="{6C575B3E-49FD-8450-F2CB-84C6E7A1153D}"/>
              </a:ext>
            </a:extLst>
          </p:cNvPr>
          <p:cNvSpPr/>
          <p:nvPr/>
        </p:nvSpPr>
        <p:spPr>
          <a:xfrm>
            <a:off x="752355" y="1156532"/>
            <a:ext cx="5613722" cy="2756252"/>
          </a:xfrm>
          <a:custGeom>
            <a:avLst/>
            <a:gdLst>
              <a:gd name="connsiteX0" fmla="*/ 0 w 5613722"/>
              <a:gd name="connsiteY0" fmla="*/ 0 h 2756252"/>
              <a:gd name="connsiteX1" fmla="*/ 0 w 5613722"/>
              <a:gd name="connsiteY1" fmla="*/ 2756252 h 2756252"/>
              <a:gd name="connsiteX2" fmla="*/ 2852875 w 5613722"/>
              <a:gd name="connsiteY2" fmla="*/ 2756252 h 2756252"/>
              <a:gd name="connsiteX3" fmla="*/ 5613722 w 5613722"/>
              <a:gd name="connsiteY3" fmla="*/ 0 h 2756252"/>
              <a:gd name="connsiteX4" fmla="*/ 0 w 5613722"/>
              <a:gd name="connsiteY4" fmla="*/ 0 h 27562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3722" h="2756252">
                <a:moveTo>
                  <a:pt x="0" y="0"/>
                </a:moveTo>
                <a:lnTo>
                  <a:pt x="0" y="2756252"/>
                </a:lnTo>
                <a:lnTo>
                  <a:pt x="2852875" y="2756252"/>
                </a:lnTo>
                <a:lnTo>
                  <a:pt x="5613722" y="0"/>
                </a:lnTo>
                <a:lnTo>
                  <a:pt x="0" y="0"/>
                </a:lnTo>
                <a:close/>
              </a:path>
            </a:pathLst>
          </a:custGeom>
          <a:solidFill>
            <a:srgbClr val="1B90FF"/>
          </a:solidFill>
          <a:ln w="9273" cap="flat">
            <a:noFill/>
            <a:prstDash val="solid"/>
            <a:miter/>
          </a:ln>
        </p:spPr>
        <p:txBody>
          <a:bodyPr rtlCol="0" anchor="ctr"/>
          <a:lstStyle/>
          <a:p>
            <a:endParaRPr lang="en-US" b="0" i="0" dirty="0">
              <a:latin typeface="72 Brand" panose="020B0504030603020204" pitchFamily="34" charset="0"/>
            </a:endParaRPr>
          </a:p>
        </p:txBody>
      </p:sp>
      <p:sp>
        <p:nvSpPr>
          <p:cNvPr id="13" name="Picture Placeholder 12">
            <a:extLst>
              <a:ext uri="{FF2B5EF4-FFF2-40B4-BE49-F238E27FC236}">
                <a16:creationId xmlns:a16="http://schemas.microsoft.com/office/drawing/2014/main" id="{FF6D8674-EA25-0C87-7F7A-4B6FFA7F1F14}"/>
              </a:ext>
            </a:extLst>
          </p:cNvPr>
          <p:cNvSpPr>
            <a:spLocks noGrp="1"/>
          </p:cNvSpPr>
          <p:nvPr>
            <p:ph type="pic" sz="quarter" idx="10" hasCustomPrompt="1"/>
          </p:nvPr>
        </p:nvSpPr>
        <p:spPr>
          <a:xfrm>
            <a:off x="7836062" y="0"/>
            <a:ext cx="4359114" cy="6858000"/>
          </a:xfrm>
        </p:spPr>
        <p:txBody>
          <a:bodyPr anchor="ctr" anchorCtr="0"/>
          <a:lstStyle>
            <a:lvl1pPr algn="ctr">
              <a:defRPr>
                <a:solidFill>
                  <a:schemeClr val="bg1"/>
                </a:solidFill>
              </a:defRPr>
            </a:lvl1pPr>
          </a:lstStyle>
          <a:p>
            <a:r>
              <a:rPr lang="en-US"/>
              <a:t>Click to insert picture</a:t>
            </a:r>
          </a:p>
        </p:txBody>
      </p:sp>
      <p:sp>
        <p:nvSpPr>
          <p:cNvPr id="4" name="Title">
            <a:extLst>
              <a:ext uri="{FF2B5EF4-FFF2-40B4-BE49-F238E27FC236}">
                <a16:creationId xmlns:a16="http://schemas.microsoft.com/office/drawing/2014/main" id="{A222ABC1-A03E-5EDE-02E2-6F3794850CC1}"/>
              </a:ext>
            </a:extLst>
          </p:cNvPr>
          <p:cNvSpPr>
            <a:spLocks noGrp="1"/>
          </p:cNvSpPr>
          <p:nvPr>
            <p:ph type="title" hasCustomPrompt="1"/>
          </p:nvPr>
        </p:nvSpPr>
        <p:spPr>
          <a:xfrm>
            <a:off x="287338" y="2051754"/>
            <a:ext cx="5529704" cy="997196"/>
          </a:xfrm>
        </p:spPr>
        <p:txBody>
          <a:bodyPr anchor="ctr" anchorCtr="0">
            <a:noAutofit/>
          </a:bodyPr>
          <a:lstStyle>
            <a:lvl1pPr>
              <a:lnSpc>
                <a:spcPct val="90000"/>
              </a:lnSpc>
              <a:defRPr sz="3600" b="0" i="0">
                <a:solidFill>
                  <a:schemeClr val="bg1"/>
                </a:solidFill>
                <a:latin typeface="72 Brand Medium" panose="020B0504030603020204" pitchFamily="34" charset="0"/>
              </a:defRPr>
            </a:lvl1pPr>
          </a:lstStyle>
          <a:p>
            <a:pPr fontAlgn="base">
              <a:spcBef>
                <a:spcPct val="50000"/>
              </a:spcBef>
              <a:spcAft>
                <a:spcPct val="0"/>
              </a:spcAft>
              <a:buClr>
                <a:srgbClr val="F0AB00"/>
              </a:buClr>
              <a:buSzPct val="80000"/>
            </a:pPr>
            <a:r>
              <a:rPr lang="en-US" dirty="0"/>
              <a:t>Title goes here</a:t>
            </a:r>
            <a:br>
              <a:rPr lang="en-US" dirty="0"/>
            </a:br>
            <a:r>
              <a:rPr lang="en-US" dirty="0"/>
              <a:t>and here and here</a:t>
            </a:r>
            <a:endParaRPr lang="de-DE" sz="3600" kern="0" dirty="0" err="1">
              <a:ea typeface="72 Brand" pitchFamily="34" charset="-128"/>
              <a:cs typeface="72 Brand" pitchFamily="34" charset="-128"/>
            </a:endParaRPr>
          </a:p>
        </p:txBody>
      </p:sp>
      <p:pic>
        <p:nvPicPr>
          <p:cNvPr id="1990007123" name="LogoWhite-Dynamic" descr="{&quot;templafy&quot;:{&quot;id&quot;:&quot;a82df262-1601-4dd2-a994-099457e1f695&quot;}}"/>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88006" y="360000"/>
            <a:ext cx="2976807" cy="360000"/>
          </a:xfrm>
          <a:prstGeom prst="rect">
            <a:avLst/>
          </a:prstGeom>
        </p:spPr>
      </p:pic>
      <p:sp>
        <p:nvSpPr>
          <p:cNvPr id="5" name="Classification-Dynamic" descr="{&quot;templafy&quot;:{&quot;id&quot;:&quot;c174b7e3-fe48-42c2-956d-22bde69305e5&quot;}}">
            <a:extLst>
              <a:ext uri="{FF2B5EF4-FFF2-40B4-BE49-F238E27FC236}">
                <a16:creationId xmlns:a16="http://schemas.microsoft.com/office/drawing/2014/main" id="{7A6CB977-D711-D436-9DC2-AAFCC56F9CAA}"/>
              </a:ext>
            </a:extLst>
          </p:cNvPr>
          <p:cNvSpPr txBox="1"/>
          <p:nvPr userDrawn="1"/>
        </p:nvSpPr>
        <p:spPr>
          <a:xfrm>
            <a:off x="440401" y="5080814"/>
            <a:ext cx="4986112" cy="252000"/>
          </a:xfrm>
          <a:prstGeom prst="rect">
            <a:avLst/>
          </a:prstGeom>
          <a:noFill/>
        </p:spPr>
        <p:txBody>
          <a:bodyPr wrap="square" lIns="0" tIns="0" rIns="0" bIns="0" rtlCol="0">
            <a:normAutofit/>
          </a:bodyPr>
          <a:lstStyle/>
          <a:p>
            <a:pPr fontAlgn="base">
              <a:spcBef>
                <a:spcPct val="50000"/>
              </a:spcBef>
              <a:spcAft>
                <a:spcPct val="0"/>
              </a:spcAft>
              <a:buClr>
                <a:srgbClr val="F0AB00"/>
              </a:buClr>
              <a:buSzPct val="80000"/>
            </a:pPr>
            <a:r>
              <a:rPr lang="en-US" sz="1000" b="0" i="0" kern="0">
                <a:solidFill>
                  <a:schemeClr val="bg1"/>
                </a:solidFill>
                <a:latin typeface="72 Brand" panose="020B0504030603020204" pitchFamily="34" charset="0"/>
                <a:ea typeface="72 Brand" pitchFamily="34" charset="-128"/>
                <a:cs typeface="72 Brand" pitchFamily="34" charset="-128"/>
              </a:rPr>
              <a:t>INTERNAL – SAP and Partners Only</a:t>
            </a:r>
          </a:p>
        </p:txBody>
      </p:sp>
    </p:spTree>
    <p:extLst>
      <p:ext uri="{BB962C8B-B14F-4D97-AF65-F5344CB8AC3E}">
        <p14:creationId xmlns:p14="http://schemas.microsoft.com/office/powerpoint/2010/main" val="19797496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81">
          <p15:clr>
            <a:srgbClr val="FBAE40"/>
          </p15:clr>
        </p15:guide>
        <p15:guide id="2" orient="horz" pos="1385" userDrawn="1">
          <p15:clr>
            <a:srgbClr val="FBAE40"/>
          </p15:clr>
        </p15:guide>
        <p15:guide id="3" orient="horz" pos="2688">
          <p15:clr>
            <a:srgbClr val="FBAE40"/>
          </p15:clr>
        </p15:guide>
        <p15:guide id="4" orient="horz" pos="2334">
          <p15:clr>
            <a:srgbClr val="FBAE40"/>
          </p15:clr>
        </p15:guide>
        <p15:guide id="5" orient="horz" pos="2999" userDrawn="1">
          <p15:clr>
            <a:srgbClr val="FBAE40"/>
          </p15:clr>
        </p15:guide>
        <p15:guide id="7" orient="horz" pos="414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Agenda title"/>
          <p:cNvSpPr>
            <a:spLocks noGrp="1"/>
          </p:cNvSpPr>
          <p:nvPr>
            <p:ph type="title" hasCustomPrompt="1"/>
          </p:nvPr>
        </p:nvSpPr>
        <p:spPr>
          <a:xfrm>
            <a:off x="504000" y="505381"/>
            <a:ext cx="11186476" cy="369332"/>
          </a:xfrm>
        </p:spPr>
        <p:txBody>
          <a:bodyPr/>
          <a:lstStyle>
            <a:lvl1pPr>
              <a:defRPr b="0" i="0">
                <a:latin typeface="72 Brand Medium" panose="020B0504030603020204" pitchFamily="34" charset="0"/>
              </a:defRPr>
            </a:lvl1pPr>
          </a:lstStyle>
          <a:p>
            <a:r>
              <a:rPr lang="en-US" dirty="0"/>
              <a:t>Agenda</a:t>
            </a:r>
          </a:p>
        </p:txBody>
      </p:sp>
      <p:sp>
        <p:nvSpPr>
          <p:cNvPr id="5" name="Text placeholder">
            <a:extLst>
              <a:ext uri="{FF2B5EF4-FFF2-40B4-BE49-F238E27FC236}">
                <a16:creationId xmlns:a16="http://schemas.microsoft.com/office/drawing/2014/main" id="{8E82BE2B-69B2-5121-2AA4-8473C53F0CF1}"/>
              </a:ext>
            </a:extLst>
          </p:cNvPr>
          <p:cNvSpPr>
            <a:spLocks noGrp="1"/>
          </p:cNvSpPr>
          <p:nvPr>
            <p:ph type="body" sz="quarter" idx="11" hasCustomPrompt="1"/>
          </p:nvPr>
        </p:nvSpPr>
        <p:spPr>
          <a:xfrm>
            <a:off x="504000" y="1548000"/>
            <a:ext cx="11186477" cy="4787900"/>
          </a:xfrm>
        </p:spPr>
        <p:txBody>
          <a:bodyPr/>
          <a:lstStyle>
            <a:lvl1pPr>
              <a:defRPr/>
            </a:lvl1pPr>
          </a:lstStyle>
          <a:p>
            <a:pPr lvl="0"/>
            <a:r>
              <a:rPr lang="en-US" dirty="0"/>
              <a:t>Agenda Item/Divider Headline</a:t>
            </a:r>
          </a:p>
          <a:p>
            <a:pPr lvl="1"/>
            <a:r>
              <a:rPr lang="en-US" dirty="0"/>
              <a:t>Details</a:t>
            </a:r>
          </a:p>
        </p:txBody>
      </p:sp>
    </p:spTree>
    <p:extLst>
      <p:ext uri="{BB962C8B-B14F-4D97-AF65-F5344CB8AC3E}">
        <p14:creationId xmlns:p14="http://schemas.microsoft.com/office/powerpoint/2010/main" val="1859360619"/>
      </p:ext>
    </p:extLst>
  </p:cSld>
  <p:clrMapOvr>
    <a:masterClrMapping/>
  </p:clrMapOvr>
  <p:extLst>
    <p:ext uri="{DCECCB84-F9BA-43D5-87BE-67443E8EF086}">
      <p15:sldGuideLst xmlns:p15="http://schemas.microsoft.com/office/powerpoint/2012/main">
        <p15:guide id="1" pos="311" userDrawn="1">
          <p15:clr>
            <a:srgbClr val="FBAE40"/>
          </p15:clr>
        </p15:guide>
        <p15:guide id="2" orient="horz" pos="970" userDrawn="1">
          <p15:clr>
            <a:srgbClr val="FBAE40"/>
          </p15:clr>
        </p15:guide>
        <p15:guide id="3" pos="7364" userDrawn="1">
          <p15:clr>
            <a:srgbClr val="FBAE40"/>
          </p15:clr>
        </p15:guide>
        <p15:guide id="4" orient="horz" pos="316" userDrawn="1">
          <p15:clr>
            <a:srgbClr val="FBAE40"/>
          </p15:clr>
        </p15:guide>
        <p15:guide id="5" orient="horz" pos="551" userDrawn="1">
          <p15:clr>
            <a:srgbClr val="FBAE40"/>
          </p15:clr>
        </p15:guide>
        <p15:guide id="6" orient="horz" pos="3997" userDrawn="1">
          <p15:clr>
            <a:srgbClr val="FBAE40"/>
          </p15:clr>
        </p15:guide>
      </p15:sldGuideLst>
    </p:ext>
  </p:extLst>
</p:sldLayout>
</file>

<file path=ppt/slideMasters/_rels/slideMaster1.xml.rels><?xml version="1.0" encoding="UTF-8" standalone="yes"?>
<Relationships xmlns="http://schemas.openxmlformats.org/package/2006/relationships"><Relationship Id="rId117" Type="http://schemas.openxmlformats.org/officeDocument/2006/relationships/tags" Target="../tags/tag89.xml"/><Relationship Id="rId21" Type="http://schemas.openxmlformats.org/officeDocument/2006/relationships/slideLayout" Target="../slideLayouts/slideLayout21.xml"/><Relationship Id="rId42" Type="http://schemas.openxmlformats.org/officeDocument/2006/relationships/tags" Target="../tags/tag14.xml"/><Relationship Id="rId63" Type="http://schemas.openxmlformats.org/officeDocument/2006/relationships/tags" Target="../tags/tag35.xml"/><Relationship Id="rId84" Type="http://schemas.openxmlformats.org/officeDocument/2006/relationships/tags" Target="../tags/tag56.xml"/><Relationship Id="rId138" Type="http://schemas.openxmlformats.org/officeDocument/2006/relationships/tags" Target="../tags/tag110.xml"/><Relationship Id="rId107" Type="http://schemas.openxmlformats.org/officeDocument/2006/relationships/tags" Target="../tags/tag79.xml"/><Relationship Id="rId11" Type="http://schemas.openxmlformats.org/officeDocument/2006/relationships/slideLayout" Target="../slideLayouts/slideLayout11.xml"/><Relationship Id="rId32" Type="http://schemas.openxmlformats.org/officeDocument/2006/relationships/tags" Target="../tags/tag4.xml"/><Relationship Id="rId53" Type="http://schemas.openxmlformats.org/officeDocument/2006/relationships/tags" Target="../tags/tag25.xml"/><Relationship Id="rId74" Type="http://schemas.openxmlformats.org/officeDocument/2006/relationships/tags" Target="../tags/tag46.xml"/><Relationship Id="rId128" Type="http://schemas.openxmlformats.org/officeDocument/2006/relationships/tags" Target="../tags/tag100.xml"/><Relationship Id="rId149" Type="http://schemas.openxmlformats.org/officeDocument/2006/relationships/tags" Target="../tags/tag121.xml"/><Relationship Id="rId5" Type="http://schemas.openxmlformats.org/officeDocument/2006/relationships/slideLayout" Target="../slideLayouts/slideLayout5.xml"/><Relationship Id="rId95" Type="http://schemas.openxmlformats.org/officeDocument/2006/relationships/tags" Target="../tags/tag67.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tags" Target="../tags/tag15.xml"/><Relationship Id="rId48" Type="http://schemas.openxmlformats.org/officeDocument/2006/relationships/tags" Target="../tags/tag20.xml"/><Relationship Id="rId64" Type="http://schemas.openxmlformats.org/officeDocument/2006/relationships/tags" Target="../tags/tag36.xml"/><Relationship Id="rId69" Type="http://schemas.openxmlformats.org/officeDocument/2006/relationships/tags" Target="../tags/tag41.xml"/><Relationship Id="rId113" Type="http://schemas.openxmlformats.org/officeDocument/2006/relationships/tags" Target="../tags/tag85.xml"/><Relationship Id="rId118" Type="http://schemas.openxmlformats.org/officeDocument/2006/relationships/tags" Target="../tags/tag90.xml"/><Relationship Id="rId134" Type="http://schemas.openxmlformats.org/officeDocument/2006/relationships/tags" Target="../tags/tag106.xml"/><Relationship Id="rId139" Type="http://schemas.openxmlformats.org/officeDocument/2006/relationships/tags" Target="../tags/tag111.xml"/><Relationship Id="rId80" Type="http://schemas.openxmlformats.org/officeDocument/2006/relationships/tags" Target="../tags/tag52.xml"/><Relationship Id="rId85" Type="http://schemas.openxmlformats.org/officeDocument/2006/relationships/tags" Target="../tags/tag57.xml"/><Relationship Id="rId150" Type="http://schemas.openxmlformats.org/officeDocument/2006/relationships/tags" Target="../tags/tag122.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tags" Target="../tags/tag5.xml"/><Relationship Id="rId38" Type="http://schemas.openxmlformats.org/officeDocument/2006/relationships/tags" Target="../tags/tag10.xml"/><Relationship Id="rId59" Type="http://schemas.openxmlformats.org/officeDocument/2006/relationships/tags" Target="../tags/tag31.xml"/><Relationship Id="rId103" Type="http://schemas.openxmlformats.org/officeDocument/2006/relationships/tags" Target="../tags/tag75.xml"/><Relationship Id="rId108" Type="http://schemas.openxmlformats.org/officeDocument/2006/relationships/tags" Target="../tags/tag80.xml"/><Relationship Id="rId124" Type="http://schemas.openxmlformats.org/officeDocument/2006/relationships/tags" Target="../tags/tag96.xml"/><Relationship Id="rId129" Type="http://schemas.openxmlformats.org/officeDocument/2006/relationships/tags" Target="../tags/tag101.xml"/><Relationship Id="rId54" Type="http://schemas.openxmlformats.org/officeDocument/2006/relationships/tags" Target="../tags/tag26.xml"/><Relationship Id="rId70" Type="http://schemas.openxmlformats.org/officeDocument/2006/relationships/tags" Target="../tags/tag42.xml"/><Relationship Id="rId75" Type="http://schemas.openxmlformats.org/officeDocument/2006/relationships/tags" Target="../tags/tag47.xml"/><Relationship Id="rId91" Type="http://schemas.openxmlformats.org/officeDocument/2006/relationships/tags" Target="../tags/tag63.xml"/><Relationship Id="rId96" Type="http://schemas.openxmlformats.org/officeDocument/2006/relationships/tags" Target="../tags/tag68.xml"/><Relationship Id="rId140" Type="http://schemas.openxmlformats.org/officeDocument/2006/relationships/tags" Target="../tags/tag112.xml"/><Relationship Id="rId145" Type="http://schemas.openxmlformats.org/officeDocument/2006/relationships/tags" Target="../tags/tag117.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tags" Target="../tags/tag21.xml"/><Relationship Id="rId114" Type="http://schemas.openxmlformats.org/officeDocument/2006/relationships/tags" Target="../tags/tag86.xml"/><Relationship Id="rId119" Type="http://schemas.openxmlformats.org/officeDocument/2006/relationships/tags" Target="../tags/tag91.xml"/><Relationship Id="rId44" Type="http://schemas.openxmlformats.org/officeDocument/2006/relationships/tags" Target="../tags/tag16.xml"/><Relationship Id="rId60" Type="http://schemas.openxmlformats.org/officeDocument/2006/relationships/tags" Target="../tags/tag32.xml"/><Relationship Id="rId65" Type="http://schemas.openxmlformats.org/officeDocument/2006/relationships/tags" Target="../tags/tag37.xml"/><Relationship Id="rId81" Type="http://schemas.openxmlformats.org/officeDocument/2006/relationships/tags" Target="../tags/tag53.xml"/><Relationship Id="rId86" Type="http://schemas.openxmlformats.org/officeDocument/2006/relationships/tags" Target="../tags/tag58.xml"/><Relationship Id="rId130" Type="http://schemas.openxmlformats.org/officeDocument/2006/relationships/tags" Target="../tags/tag102.xml"/><Relationship Id="rId135" Type="http://schemas.openxmlformats.org/officeDocument/2006/relationships/tags" Target="../tags/tag107.xml"/><Relationship Id="rId151" Type="http://schemas.openxmlformats.org/officeDocument/2006/relationships/tags" Target="../tags/tag123.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11.xml"/><Relationship Id="rId109" Type="http://schemas.openxmlformats.org/officeDocument/2006/relationships/tags" Target="../tags/tag81.xml"/><Relationship Id="rId34" Type="http://schemas.openxmlformats.org/officeDocument/2006/relationships/tags" Target="../tags/tag6.xml"/><Relationship Id="rId50" Type="http://schemas.openxmlformats.org/officeDocument/2006/relationships/tags" Target="../tags/tag22.xml"/><Relationship Id="rId55" Type="http://schemas.openxmlformats.org/officeDocument/2006/relationships/tags" Target="../tags/tag27.xml"/><Relationship Id="rId76" Type="http://schemas.openxmlformats.org/officeDocument/2006/relationships/tags" Target="../tags/tag48.xml"/><Relationship Id="rId97" Type="http://schemas.openxmlformats.org/officeDocument/2006/relationships/tags" Target="../tags/tag69.xml"/><Relationship Id="rId104" Type="http://schemas.openxmlformats.org/officeDocument/2006/relationships/tags" Target="../tags/tag76.xml"/><Relationship Id="rId120" Type="http://schemas.openxmlformats.org/officeDocument/2006/relationships/tags" Target="../tags/tag92.xml"/><Relationship Id="rId125" Type="http://schemas.openxmlformats.org/officeDocument/2006/relationships/tags" Target="../tags/tag97.xml"/><Relationship Id="rId141" Type="http://schemas.openxmlformats.org/officeDocument/2006/relationships/tags" Target="../tags/tag113.xml"/><Relationship Id="rId146" Type="http://schemas.openxmlformats.org/officeDocument/2006/relationships/tags" Target="../tags/tag118.xml"/><Relationship Id="rId7" Type="http://schemas.openxmlformats.org/officeDocument/2006/relationships/slideLayout" Target="../slideLayouts/slideLayout7.xml"/><Relationship Id="rId71" Type="http://schemas.openxmlformats.org/officeDocument/2006/relationships/tags" Target="../tags/tag43.xml"/><Relationship Id="rId92" Type="http://schemas.openxmlformats.org/officeDocument/2006/relationships/tags" Target="../tags/tag64.xml"/><Relationship Id="rId2" Type="http://schemas.openxmlformats.org/officeDocument/2006/relationships/slideLayout" Target="../slideLayouts/slideLayout2.xml"/><Relationship Id="rId29" Type="http://schemas.openxmlformats.org/officeDocument/2006/relationships/theme" Target="../theme/theme1.xml"/><Relationship Id="rId24" Type="http://schemas.openxmlformats.org/officeDocument/2006/relationships/slideLayout" Target="../slideLayouts/slideLayout24.xml"/><Relationship Id="rId40" Type="http://schemas.openxmlformats.org/officeDocument/2006/relationships/tags" Target="../tags/tag12.xml"/><Relationship Id="rId45" Type="http://schemas.openxmlformats.org/officeDocument/2006/relationships/tags" Target="../tags/tag17.xml"/><Relationship Id="rId66" Type="http://schemas.openxmlformats.org/officeDocument/2006/relationships/tags" Target="../tags/tag38.xml"/><Relationship Id="rId87" Type="http://schemas.openxmlformats.org/officeDocument/2006/relationships/tags" Target="../tags/tag59.xml"/><Relationship Id="rId110" Type="http://schemas.openxmlformats.org/officeDocument/2006/relationships/tags" Target="../tags/tag82.xml"/><Relationship Id="rId115" Type="http://schemas.openxmlformats.org/officeDocument/2006/relationships/tags" Target="../tags/tag87.xml"/><Relationship Id="rId131" Type="http://schemas.openxmlformats.org/officeDocument/2006/relationships/tags" Target="../tags/tag103.xml"/><Relationship Id="rId136" Type="http://schemas.openxmlformats.org/officeDocument/2006/relationships/tags" Target="../tags/tag108.xml"/><Relationship Id="rId61" Type="http://schemas.openxmlformats.org/officeDocument/2006/relationships/tags" Target="../tags/tag33.xml"/><Relationship Id="rId82" Type="http://schemas.openxmlformats.org/officeDocument/2006/relationships/tags" Target="../tags/tag54.xml"/><Relationship Id="rId152" Type="http://schemas.openxmlformats.org/officeDocument/2006/relationships/tags" Target="../tags/tag124.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tags" Target="../tags/tag2.xml"/><Relationship Id="rId35" Type="http://schemas.openxmlformats.org/officeDocument/2006/relationships/tags" Target="../tags/tag7.xml"/><Relationship Id="rId56" Type="http://schemas.openxmlformats.org/officeDocument/2006/relationships/tags" Target="../tags/tag28.xml"/><Relationship Id="rId77" Type="http://schemas.openxmlformats.org/officeDocument/2006/relationships/tags" Target="../tags/tag49.xml"/><Relationship Id="rId100" Type="http://schemas.openxmlformats.org/officeDocument/2006/relationships/tags" Target="../tags/tag72.xml"/><Relationship Id="rId105" Type="http://schemas.openxmlformats.org/officeDocument/2006/relationships/tags" Target="../tags/tag77.xml"/><Relationship Id="rId126" Type="http://schemas.openxmlformats.org/officeDocument/2006/relationships/tags" Target="../tags/tag98.xml"/><Relationship Id="rId147" Type="http://schemas.openxmlformats.org/officeDocument/2006/relationships/tags" Target="../tags/tag119.xml"/><Relationship Id="rId8" Type="http://schemas.openxmlformats.org/officeDocument/2006/relationships/slideLayout" Target="../slideLayouts/slideLayout8.xml"/><Relationship Id="rId51" Type="http://schemas.openxmlformats.org/officeDocument/2006/relationships/tags" Target="../tags/tag23.xml"/><Relationship Id="rId72" Type="http://schemas.openxmlformats.org/officeDocument/2006/relationships/tags" Target="../tags/tag44.xml"/><Relationship Id="rId93" Type="http://schemas.openxmlformats.org/officeDocument/2006/relationships/tags" Target="../tags/tag65.xml"/><Relationship Id="rId98" Type="http://schemas.openxmlformats.org/officeDocument/2006/relationships/tags" Target="../tags/tag70.xml"/><Relationship Id="rId121" Type="http://schemas.openxmlformats.org/officeDocument/2006/relationships/tags" Target="../tags/tag93.xml"/><Relationship Id="rId142" Type="http://schemas.openxmlformats.org/officeDocument/2006/relationships/tags" Target="../tags/tag114.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tags" Target="../tags/tag18.xml"/><Relationship Id="rId67" Type="http://schemas.openxmlformats.org/officeDocument/2006/relationships/tags" Target="../tags/tag39.xml"/><Relationship Id="rId116" Type="http://schemas.openxmlformats.org/officeDocument/2006/relationships/tags" Target="../tags/tag88.xml"/><Relationship Id="rId137" Type="http://schemas.openxmlformats.org/officeDocument/2006/relationships/tags" Target="../tags/tag109.xml"/><Relationship Id="rId20" Type="http://schemas.openxmlformats.org/officeDocument/2006/relationships/slideLayout" Target="../slideLayouts/slideLayout20.xml"/><Relationship Id="rId41" Type="http://schemas.openxmlformats.org/officeDocument/2006/relationships/tags" Target="../tags/tag13.xml"/><Relationship Id="rId62" Type="http://schemas.openxmlformats.org/officeDocument/2006/relationships/tags" Target="../tags/tag34.xml"/><Relationship Id="rId83" Type="http://schemas.openxmlformats.org/officeDocument/2006/relationships/tags" Target="../tags/tag55.xml"/><Relationship Id="rId88" Type="http://schemas.openxmlformats.org/officeDocument/2006/relationships/tags" Target="../tags/tag60.xml"/><Relationship Id="rId111" Type="http://schemas.openxmlformats.org/officeDocument/2006/relationships/tags" Target="../tags/tag83.xml"/><Relationship Id="rId132" Type="http://schemas.openxmlformats.org/officeDocument/2006/relationships/tags" Target="../tags/tag104.xml"/><Relationship Id="rId15" Type="http://schemas.openxmlformats.org/officeDocument/2006/relationships/slideLayout" Target="../slideLayouts/slideLayout15.xml"/><Relationship Id="rId36" Type="http://schemas.openxmlformats.org/officeDocument/2006/relationships/tags" Target="../tags/tag8.xml"/><Relationship Id="rId57" Type="http://schemas.openxmlformats.org/officeDocument/2006/relationships/tags" Target="../tags/tag29.xml"/><Relationship Id="rId106" Type="http://schemas.openxmlformats.org/officeDocument/2006/relationships/tags" Target="../tags/tag78.xml"/><Relationship Id="rId127" Type="http://schemas.openxmlformats.org/officeDocument/2006/relationships/tags" Target="../tags/tag99.xml"/><Relationship Id="rId10" Type="http://schemas.openxmlformats.org/officeDocument/2006/relationships/slideLayout" Target="../slideLayouts/slideLayout10.xml"/><Relationship Id="rId31" Type="http://schemas.openxmlformats.org/officeDocument/2006/relationships/tags" Target="../tags/tag3.xml"/><Relationship Id="rId52" Type="http://schemas.openxmlformats.org/officeDocument/2006/relationships/tags" Target="../tags/tag24.xml"/><Relationship Id="rId73" Type="http://schemas.openxmlformats.org/officeDocument/2006/relationships/tags" Target="../tags/tag45.xml"/><Relationship Id="rId78" Type="http://schemas.openxmlformats.org/officeDocument/2006/relationships/tags" Target="../tags/tag50.xml"/><Relationship Id="rId94" Type="http://schemas.openxmlformats.org/officeDocument/2006/relationships/tags" Target="../tags/tag66.xml"/><Relationship Id="rId99" Type="http://schemas.openxmlformats.org/officeDocument/2006/relationships/tags" Target="../tags/tag71.xml"/><Relationship Id="rId101" Type="http://schemas.openxmlformats.org/officeDocument/2006/relationships/tags" Target="../tags/tag73.xml"/><Relationship Id="rId122" Type="http://schemas.openxmlformats.org/officeDocument/2006/relationships/tags" Target="../tags/tag94.xml"/><Relationship Id="rId143" Type="http://schemas.openxmlformats.org/officeDocument/2006/relationships/tags" Target="../tags/tag115.xml"/><Relationship Id="rId148" Type="http://schemas.openxmlformats.org/officeDocument/2006/relationships/tags" Target="../tags/tag120.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tags" Target="../tags/tag19.xml"/><Relationship Id="rId68" Type="http://schemas.openxmlformats.org/officeDocument/2006/relationships/tags" Target="../tags/tag40.xml"/><Relationship Id="rId89" Type="http://schemas.openxmlformats.org/officeDocument/2006/relationships/tags" Target="../tags/tag61.xml"/><Relationship Id="rId112" Type="http://schemas.openxmlformats.org/officeDocument/2006/relationships/tags" Target="../tags/tag84.xml"/><Relationship Id="rId133" Type="http://schemas.openxmlformats.org/officeDocument/2006/relationships/tags" Target="../tags/tag105.xml"/><Relationship Id="rId16" Type="http://schemas.openxmlformats.org/officeDocument/2006/relationships/slideLayout" Target="../slideLayouts/slideLayout16.xml"/><Relationship Id="rId37" Type="http://schemas.openxmlformats.org/officeDocument/2006/relationships/tags" Target="../tags/tag9.xml"/><Relationship Id="rId58" Type="http://schemas.openxmlformats.org/officeDocument/2006/relationships/tags" Target="../tags/tag30.xml"/><Relationship Id="rId79" Type="http://schemas.openxmlformats.org/officeDocument/2006/relationships/tags" Target="../tags/tag51.xml"/><Relationship Id="rId102" Type="http://schemas.openxmlformats.org/officeDocument/2006/relationships/tags" Target="../tags/tag74.xml"/><Relationship Id="rId123" Type="http://schemas.openxmlformats.org/officeDocument/2006/relationships/tags" Target="../tags/tag95.xml"/><Relationship Id="rId144" Type="http://schemas.openxmlformats.org/officeDocument/2006/relationships/tags" Target="../tags/tag116.xml"/><Relationship Id="rId90" Type="http://schemas.openxmlformats.org/officeDocument/2006/relationships/tags" Target="../tags/tag62.xml"/></Relationships>
</file>

<file path=ppt/slideMasters/_rels/slideMaster2.xml.rels><?xml version="1.0" encoding="UTF-8" standalone="yes"?>
<Relationships xmlns="http://schemas.openxmlformats.org/package/2006/relationships"><Relationship Id="rId117" Type="http://schemas.openxmlformats.org/officeDocument/2006/relationships/tags" Target="../tags/tag232.xml"/><Relationship Id="rId21" Type="http://schemas.openxmlformats.org/officeDocument/2006/relationships/tags" Target="../tags/tag136.xml"/><Relationship Id="rId42" Type="http://schemas.openxmlformats.org/officeDocument/2006/relationships/tags" Target="../tags/tag157.xml"/><Relationship Id="rId63" Type="http://schemas.openxmlformats.org/officeDocument/2006/relationships/tags" Target="../tags/tag178.xml"/><Relationship Id="rId84" Type="http://schemas.openxmlformats.org/officeDocument/2006/relationships/tags" Target="../tags/tag199.xml"/><Relationship Id="rId16" Type="http://schemas.openxmlformats.org/officeDocument/2006/relationships/tags" Target="../tags/tag131.xml"/><Relationship Id="rId107" Type="http://schemas.openxmlformats.org/officeDocument/2006/relationships/tags" Target="../tags/tag222.xml"/><Relationship Id="rId11" Type="http://schemas.openxmlformats.org/officeDocument/2006/relationships/tags" Target="../tags/tag126.xml"/><Relationship Id="rId32" Type="http://schemas.openxmlformats.org/officeDocument/2006/relationships/tags" Target="../tags/tag147.xml"/><Relationship Id="rId37" Type="http://schemas.openxmlformats.org/officeDocument/2006/relationships/tags" Target="../tags/tag152.xml"/><Relationship Id="rId53" Type="http://schemas.openxmlformats.org/officeDocument/2006/relationships/tags" Target="../tags/tag168.xml"/><Relationship Id="rId58" Type="http://schemas.openxmlformats.org/officeDocument/2006/relationships/tags" Target="../tags/tag173.xml"/><Relationship Id="rId74" Type="http://schemas.openxmlformats.org/officeDocument/2006/relationships/tags" Target="../tags/tag189.xml"/><Relationship Id="rId79" Type="http://schemas.openxmlformats.org/officeDocument/2006/relationships/tags" Target="../tags/tag194.xml"/><Relationship Id="rId102" Type="http://schemas.openxmlformats.org/officeDocument/2006/relationships/tags" Target="../tags/tag217.xml"/><Relationship Id="rId123" Type="http://schemas.openxmlformats.org/officeDocument/2006/relationships/tags" Target="../tags/tag238.xml"/><Relationship Id="rId128" Type="http://schemas.openxmlformats.org/officeDocument/2006/relationships/tags" Target="../tags/tag243.xml"/><Relationship Id="rId5" Type="http://schemas.openxmlformats.org/officeDocument/2006/relationships/slideLayout" Target="../slideLayouts/slideLayout33.xml"/><Relationship Id="rId90" Type="http://schemas.openxmlformats.org/officeDocument/2006/relationships/tags" Target="../tags/tag205.xml"/><Relationship Id="rId95" Type="http://schemas.openxmlformats.org/officeDocument/2006/relationships/tags" Target="../tags/tag210.xml"/><Relationship Id="rId22" Type="http://schemas.openxmlformats.org/officeDocument/2006/relationships/tags" Target="../tags/tag137.xml"/><Relationship Id="rId27" Type="http://schemas.openxmlformats.org/officeDocument/2006/relationships/tags" Target="../tags/tag142.xml"/><Relationship Id="rId43" Type="http://schemas.openxmlformats.org/officeDocument/2006/relationships/tags" Target="../tags/tag158.xml"/><Relationship Id="rId48" Type="http://schemas.openxmlformats.org/officeDocument/2006/relationships/tags" Target="../tags/tag163.xml"/><Relationship Id="rId64" Type="http://schemas.openxmlformats.org/officeDocument/2006/relationships/tags" Target="../tags/tag179.xml"/><Relationship Id="rId69" Type="http://schemas.openxmlformats.org/officeDocument/2006/relationships/tags" Target="../tags/tag184.xml"/><Relationship Id="rId113" Type="http://schemas.openxmlformats.org/officeDocument/2006/relationships/tags" Target="../tags/tag228.xml"/><Relationship Id="rId118" Type="http://schemas.openxmlformats.org/officeDocument/2006/relationships/tags" Target="../tags/tag233.xml"/><Relationship Id="rId134" Type="http://schemas.openxmlformats.org/officeDocument/2006/relationships/tags" Target="../tags/tag249.xml"/><Relationship Id="rId80" Type="http://schemas.openxmlformats.org/officeDocument/2006/relationships/tags" Target="../tags/tag195.xml"/><Relationship Id="rId85" Type="http://schemas.openxmlformats.org/officeDocument/2006/relationships/tags" Target="../tags/tag200.xml"/><Relationship Id="rId12" Type="http://schemas.openxmlformats.org/officeDocument/2006/relationships/tags" Target="../tags/tag127.xml"/><Relationship Id="rId17" Type="http://schemas.openxmlformats.org/officeDocument/2006/relationships/tags" Target="../tags/tag132.xml"/><Relationship Id="rId33" Type="http://schemas.openxmlformats.org/officeDocument/2006/relationships/tags" Target="../tags/tag148.xml"/><Relationship Id="rId38" Type="http://schemas.openxmlformats.org/officeDocument/2006/relationships/tags" Target="../tags/tag153.xml"/><Relationship Id="rId59" Type="http://schemas.openxmlformats.org/officeDocument/2006/relationships/tags" Target="../tags/tag174.xml"/><Relationship Id="rId103" Type="http://schemas.openxmlformats.org/officeDocument/2006/relationships/tags" Target="../tags/tag218.xml"/><Relationship Id="rId108" Type="http://schemas.openxmlformats.org/officeDocument/2006/relationships/tags" Target="../tags/tag223.xml"/><Relationship Id="rId124" Type="http://schemas.openxmlformats.org/officeDocument/2006/relationships/tags" Target="../tags/tag239.xml"/><Relationship Id="rId129" Type="http://schemas.openxmlformats.org/officeDocument/2006/relationships/tags" Target="../tags/tag244.xml"/><Relationship Id="rId54" Type="http://schemas.openxmlformats.org/officeDocument/2006/relationships/tags" Target="../tags/tag169.xml"/><Relationship Id="rId70" Type="http://schemas.openxmlformats.org/officeDocument/2006/relationships/tags" Target="../tags/tag185.xml"/><Relationship Id="rId75" Type="http://schemas.openxmlformats.org/officeDocument/2006/relationships/tags" Target="../tags/tag190.xml"/><Relationship Id="rId91" Type="http://schemas.openxmlformats.org/officeDocument/2006/relationships/tags" Target="../tags/tag206.xml"/><Relationship Id="rId96" Type="http://schemas.openxmlformats.org/officeDocument/2006/relationships/tags" Target="../tags/tag211.xml"/><Relationship Id="rId1" Type="http://schemas.openxmlformats.org/officeDocument/2006/relationships/slideLayout" Target="../slideLayouts/slideLayout29.xml"/><Relationship Id="rId6" Type="http://schemas.openxmlformats.org/officeDocument/2006/relationships/slideLayout" Target="../slideLayouts/slideLayout34.xml"/><Relationship Id="rId23" Type="http://schemas.openxmlformats.org/officeDocument/2006/relationships/tags" Target="../tags/tag138.xml"/><Relationship Id="rId28" Type="http://schemas.openxmlformats.org/officeDocument/2006/relationships/tags" Target="../tags/tag143.xml"/><Relationship Id="rId49" Type="http://schemas.openxmlformats.org/officeDocument/2006/relationships/tags" Target="../tags/tag164.xml"/><Relationship Id="rId114" Type="http://schemas.openxmlformats.org/officeDocument/2006/relationships/tags" Target="../tags/tag229.xml"/><Relationship Id="rId119" Type="http://schemas.openxmlformats.org/officeDocument/2006/relationships/tags" Target="../tags/tag234.xml"/><Relationship Id="rId44" Type="http://schemas.openxmlformats.org/officeDocument/2006/relationships/tags" Target="../tags/tag159.xml"/><Relationship Id="rId60" Type="http://schemas.openxmlformats.org/officeDocument/2006/relationships/tags" Target="../tags/tag175.xml"/><Relationship Id="rId65" Type="http://schemas.openxmlformats.org/officeDocument/2006/relationships/tags" Target="../tags/tag180.xml"/><Relationship Id="rId81" Type="http://schemas.openxmlformats.org/officeDocument/2006/relationships/tags" Target="../tags/tag196.xml"/><Relationship Id="rId86" Type="http://schemas.openxmlformats.org/officeDocument/2006/relationships/tags" Target="../tags/tag201.xml"/><Relationship Id="rId130" Type="http://schemas.openxmlformats.org/officeDocument/2006/relationships/tags" Target="../tags/tag245.xml"/><Relationship Id="rId135" Type="http://schemas.openxmlformats.org/officeDocument/2006/relationships/oleObject" Target="../embeddings/oleObject2.bin"/><Relationship Id="rId13" Type="http://schemas.openxmlformats.org/officeDocument/2006/relationships/tags" Target="../tags/tag128.xml"/><Relationship Id="rId18" Type="http://schemas.openxmlformats.org/officeDocument/2006/relationships/tags" Target="../tags/tag133.xml"/><Relationship Id="rId39" Type="http://schemas.openxmlformats.org/officeDocument/2006/relationships/tags" Target="../tags/tag154.xml"/><Relationship Id="rId109" Type="http://schemas.openxmlformats.org/officeDocument/2006/relationships/tags" Target="../tags/tag224.xml"/><Relationship Id="rId34" Type="http://schemas.openxmlformats.org/officeDocument/2006/relationships/tags" Target="../tags/tag149.xml"/><Relationship Id="rId50" Type="http://schemas.openxmlformats.org/officeDocument/2006/relationships/tags" Target="../tags/tag165.xml"/><Relationship Id="rId55" Type="http://schemas.openxmlformats.org/officeDocument/2006/relationships/tags" Target="../tags/tag170.xml"/><Relationship Id="rId76" Type="http://schemas.openxmlformats.org/officeDocument/2006/relationships/tags" Target="../tags/tag191.xml"/><Relationship Id="rId97" Type="http://schemas.openxmlformats.org/officeDocument/2006/relationships/tags" Target="../tags/tag212.xml"/><Relationship Id="rId104" Type="http://schemas.openxmlformats.org/officeDocument/2006/relationships/tags" Target="../tags/tag219.xml"/><Relationship Id="rId120" Type="http://schemas.openxmlformats.org/officeDocument/2006/relationships/tags" Target="../tags/tag235.xml"/><Relationship Id="rId125" Type="http://schemas.openxmlformats.org/officeDocument/2006/relationships/tags" Target="../tags/tag240.xml"/><Relationship Id="rId7" Type="http://schemas.openxmlformats.org/officeDocument/2006/relationships/slideLayout" Target="../slideLayouts/slideLayout35.xml"/><Relationship Id="rId71" Type="http://schemas.openxmlformats.org/officeDocument/2006/relationships/tags" Target="../tags/tag186.xml"/><Relationship Id="rId92" Type="http://schemas.openxmlformats.org/officeDocument/2006/relationships/tags" Target="../tags/tag207.xml"/><Relationship Id="rId2" Type="http://schemas.openxmlformats.org/officeDocument/2006/relationships/slideLayout" Target="../slideLayouts/slideLayout30.xml"/><Relationship Id="rId29" Type="http://schemas.openxmlformats.org/officeDocument/2006/relationships/tags" Target="../tags/tag144.xml"/><Relationship Id="rId24" Type="http://schemas.openxmlformats.org/officeDocument/2006/relationships/tags" Target="../tags/tag139.xml"/><Relationship Id="rId40" Type="http://schemas.openxmlformats.org/officeDocument/2006/relationships/tags" Target="../tags/tag155.xml"/><Relationship Id="rId45" Type="http://schemas.openxmlformats.org/officeDocument/2006/relationships/tags" Target="../tags/tag160.xml"/><Relationship Id="rId66" Type="http://schemas.openxmlformats.org/officeDocument/2006/relationships/tags" Target="../tags/tag181.xml"/><Relationship Id="rId87" Type="http://schemas.openxmlformats.org/officeDocument/2006/relationships/tags" Target="../tags/tag202.xml"/><Relationship Id="rId110" Type="http://schemas.openxmlformats.org/officeDocument/2006/relationships/tags" Target="../tags/tag225.xml"/><Relationship Id="rId115" Type="http://schemas.openxmlformats.org/officeDocument/2006/relationships/tags" Target="../tags/tag230.xml"/><Relationship Id="rId131" Type="http://schemas.openxmlformats.org/officeDocument/2006/relationships/tags" Target="../tags/tag246.xml"/><Relationship Id="rId136" Type="http://schemas.openxmlformats.org/officeDocument/2006/relationships/image" Target="../media/image7.emf"/><Relationship Id="rId61" Type="http://schemas.openxmlformats.org/officeDocument/2006/relationships/tags" Target="../tags/tag176.xml"/><Relationship Id="rId82" Type="http://schemas.openxmlformats.org/officeDocument/2006/relationships/tags" Target="../tags/tag197.xml"/><Relationship Id="rId19" Type="http://schemas.openxmlformats.org/officeDocument/2006/relationships/tags" Target="../tags/tag134.xml"/><Relationship Id="rId14" Type="http://schemas.openxmlformats.org/officeDocument/2006/relationships/tags" Target="../tags/tag129.xml"/><Relationship Id="rId30" Type="http://schemas.openxmlformats.org/officeDocument/2006/relationships/tags" Target="../tags/tag145.xml"/><Relationship Id="rId35" Type="http://schemas.openxmlformats.org/officeDocument/2006/relationships/tags" Target="../tags/tag150.xml"/><Relationship Id="rId56" Type="http://schemas.openxmlformats.org/officeDocument/2006/relationships/tags" Target="../tags/tag171.xml"/><Relationship Id="rId77" Type="http://schemas.openxmlformats.org/officeDocument/2006/relationships/tags" Target="../tags/tag192.xml"/><Relationship Id="rId100" Type="http://schemas.openxmlformats.org/officeDocument/2006/relationships/tags" Target="../tags/tag215.xml"/><Relationship Id="rId105" Type="http://schemas.openxmlformats.org/officeDocument/2006/relationships/tags" Target="../tags/tag220.xml"/><Relationship Id="rId126" Type="http://schemas.openxmlformats.org/officeDocument/2006/relationships/tags" Target="../tags/tag241.xml"/><Relationship Id="rId8" Type="http://schemas.openxmlformats.org/officeDocument/2006/relationships/slideLayout" Target="../slideLayouts/slideLayout36.xml"/><Relationship Id="rId51" Type="http://schemas.openxmlformats.org/officeDocument/2006/relationships/tags" Target="../tags/tag166.xml"/><Relationship Id="rId72" Type="http://schemas.openxmlformats.org/officeDocument/2006/relationships/tags" Target="../tags/tag187.xml"/><Relationship Id="rId93" Type="http://schemas.openxmlformats.org/officeDocument/2006/relationships/tags" Target="../tags/tag208.xml"/><Relationship Id="rId98" Type="http://schemas.openxmlformats.org/officeDocument/2006/relationships/tags" Target="../tags/tag213.xml"/><Relationship Id="rId121" Type="http://schemas.openxmlformats.org/officeDocument/2006/relationships/tags" Target="../tags/tag236.xml"/><Relationship Id="rId3" Type="http://schemas.openxmlformats.org/officeDocument/2006/relationships/slideLayout" Target="../slideLayouts/slideLayout31.xml"/><Relationship Id="rId25" Type="http://schemas.openxmlformats.org/officeDocument/2006/relationships/tags" Target="../tags/tag140.xml"/><Relationship Id="rId46" Type="http://schemas.openxmlformats.org/officeDocument/2006/relationships/tags" Target="../tags/tag161.xml"/><Relationship Id="rId67" Type="http://schemas.openxmlformats.org/officeDocument/2006/relationships/tags" Target="../tags/tag182.xml"/><Relationship Id="rId116" Type="http://schemas.openxmlformats.org/officeDocument/2006/relationships/tags" Target="../tags/tag231.xml"/><Relationship Id="rId20" Type="http://schemas.openxmlformats.org/officeDocument/2006/relationships/tags" Target="../tags/tag135.xml"/><Relationship Id="rId41" Type="http://schemas.openxmlformats.org/officeDocument/2006/relationships/tags" Target="../tags/tag156.xml"/><Relationship Id="rId62" Type="http://schemas.openxmlformats.org/officeDocument/2006/relationships/tags" Target="../tags/tag177.xml"/><Relationship Id="rId83" Type="http://schemas.openxmlformats.org/officeDocument/2006/relationships/tags" Target="../tags/tag198.xml"/><Relationship Id="rId88" Type="http://schemas.openxmlformats.org/officeDocument/2006/relationships/tags" Target="../tags/tag203.xml"/><Relationship Id="rId111" Type="http://schemas.openxmlformats.org/officeDocument/2006/relationships/tags" Target="../tags/tag226.xml"/><Relationship Id="rId132" Type="http://schemas.openxmlformats.org/officeDocument/2006/relationships/tags" Target="../tags/tag247.xml"/><Relationship Id="rId15" Type="http://schemas.openxmlformats.org/officeDocument/2006/relationships/tags" Target="../tags/tag130.xml"/><Relationship Id="rId36" Type="http://schemas.openxmlformats.org/officeDocument/2006/relationships/tags" Target="../tags/tag151.xml"/><Relationship Id="rId57" Type="http://schemas.openxmlformats.org/officeDocument/2006/relationships/tags" Target="../tags/tag172.xml"/><Relationship Id="rId106" Type="http://schemas.openxmlformats.org/officeDocument/2006/relationships/tags" Target="../tags/tag221.xml"/><Relationship Id="rId127" Type="http://schemas.openxmlformats.org/officeDocument/2006/relationships/tags" Target="../tags/tag242.xml"/><Relationship Id="rId10" Type="http://schemas.openxmlformats.org/officeDocument/2006/relationships/theme" Target="../theme/theme2.xml"/><Relationship Id="rId31" Type="http://schemas.openxmlformats.org/officeDocument/2006/relationships/tags" Target="../tags/tag146.xml"/><Relationship Id="rId52" Type="http://schemas.openxmlformats.org/officeDocument/2006/relationships/tags" Target="../tags/tag167.xml"/><Relationship Id="rId73" Type="http://schemas.openxmlformats.org/officeDocument/2006/relationships/tags" Target="../tags/tag188.xml"/><Relationship Id="rId78" Type="http://schemas.openxmlformats.org/officeDocument/2006/relationships/tags" Target="../tags/tag193.xml"/><Relationship Id="rId94" Type="http://schemas.openxmlformats.org/officeDocument/2006/relationships/tags" Target="../tags/tag209.xml"/><Relationship Id="rId99" Type="http://schemas.openxmlformats.org/officeDocument/2006/relationships/tags" Target="../tags/tag214.xml"/><Relationship Id="rId101" Type="http://schemas.openxmlformats.org/officeDocument/2006/relationships/tags" Target="../tags/tag216.xml"/><Relationship Id="rId122" Type="http://schemas.openxmlformats.org/officeDocument/2006/relationships/tags" Target="../tags/tag23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26" Type="http://schemas.openxmlformats.org/officeDocument/2006/relationships/tags" Target="../tags/tag141.xml"/><Relationship Id="rId47" Type="http://schemas.openxmlformats.org/officeDocument/2006/relationships/tags" Target="../tags/tag162.xml"/><Relationship Id="rId68" Type="http://schemas.openxmlformats.org/officeDocument/2006/relationships/tags" Target="../tags/tag183.xml"/><Relationship Id="rId89" Type="http://schemas.openxmlformats.org/officeDocument/2006/relationships/tags" Target="../tags/tag204.xml"/><Relationship Id="rId112" Type="http://schemas.openxmlformats.org/officeDocument/2006/relationships/tags" Target="../tags/tag227.xml"/><Relationship Id="rId133" Type="http://schemas.openxmlformats.org/officeDocument/2006/relationships/tags" Target="../tags/tag2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57293E41-954C-9E9C-7DE2-32FEDBD5A1C6}"/>
              </a:ext>
            </a:extLst>
          </p:cNvPr>
          <p:cNvSpPr/>
          <p:nvPr userDrawn="1"/>
        </p:nvSpPr>
        <p:spPr bwMode="gray">
          <a:xfrm>
            <a:off x="-1" y="0"/>
            <a:ext cx="12195175" cy="6858000"/>
          </a:xfrm>
          <a:prstGeom prst="rect">
            <a:avLst/>
          </a:prstGeom>
          <a:solidFill>
            <a:schemeClr val="bg1"/>
          </a:solidFill>
          <a:ln w="15238" cap="flat">
            <a:noFill/>
            <a:prstDash val="solid"/>
            <a:miter/>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72 Brand" panose="020B0504030603020204" pitchFamily="34" charset="0"/>
              <a:ea typeface="72 Brand" pitchFamily="34" charset="-128"/>
              <a:cs typeface="72 Brand" pitchFamily="34" charset="-128"/>
            </a:endParaRPr>
          </a:p>
        </p:txBody>
      </p:sp>
      <p:sp>
        <p:nvSpPr>
          <p:cNvPr id="34" name="Slide number"/>
          <p:cNvSpPr txBox="1"/>
          <p:nvPr userDrawn="1"/>
        </p:nvSpPr>
        <p:spPr bwMode="black">
          <a:xfrm>
            <a:off x="11546207" y="6536751"/>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mn-lt"/>
              </a:rPr>
              <a:pPr marL="0" lvl="0" indent="0" algn="r">
                <a:buNone/>
              </a:pPr>
              <a:t>‹Nr.›</a:t>
            </a:fld>
            <a:endParaRPr lang="en-US" sz="900" b="0" i="0" noProof="0" dirty="0">
              <a:latin typeface="+mn-lt"/>
            </a:endParaRPr>
          </a:p>
        </p:txBody>
      </p:sp>
      <p:sp>
        <p:nvSpPr>
          <p:cNvPr id="12" name="Copyright Placeholder" descr="{&quot;templafy&quot;:{&quot;id&quot;:&quot;664291ec-d8c7-444b-b974-99bbba7dee9c&quot;}}">
            <a:extLst>
              <a:ext uri="{FF2B5EF4-FFF2-40B4-BE49-F238E27FC236}">
                <a16:creationId xmlns:a16="http://schemas.microsoft.com/office/drawing/2014/main" id="{539D88F9-B48F-F143-B90F-EDFB85A350E8}"/>
              </a:ext>
            </a:extLst>
          </p:cNvPr>
          <p:cNvSpPr txBox="1">
            <a:spLocks/>
          </p:cNvSpPr>
          <p:nvPr userDrawn="1"/>
        </p:nvSpPr>
        <p:spPr>
          <a:xfrm>
            <a:off x="504001" y="6536751"/>
            <a:ext cx="10155600" cy="138498"/>
          </a:xfrm>
          <a:prstGeom prst="rect">
            <a:avLst/>
          </a:prstGeom>
        </p:spPr>
        <p:txBody>
          <a:bodyPr lIns="0" tIns="0" rIns="0" bIns="0" anchor="ctr" anchorCtr="0">
            <a:no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a:buFont typeface="Arial" panose="020B0604020202020204" pitchFamily="34" charset="0"/>
              <a:buNone/>
            </a:pPr>
            <a:r>
              <a:rPr lang="en-US" sz="600" b="0" i="0" dirty="0">
                <a:latin typeface="72 Brand" panose="020B0504030603020204" pitchFamily="34" charset="0"/>
              </a:rPr>
              <a:t>PUBLIC</a:t>
            </a:r>
          </a:p>
        </p:txBody>
      </p:sp>
      <p:sp>
        <p:nvSpPr>
          <p:cNvPr id="3" name="Text Placeholder"/>
          <p:cNvSpPr>
            <a:spLocks noGrp="1"/>
          </p:cNvSpPr>
          <p:nvPr userDrawn="1">
            <p:ph type="body" idx="1"/>
          </p:nvPr>
        </p:nvSpPr>
        <p:spPr bwMode="black">
          <a:xfrm>
            <a:off x="504001" y="1548560"/>
            <a:ext cx="11186476" cy="4788000"/>
          </a:xfrm>
          <a:prstGeom prst="rect">
            <a:avLst/>
          </a:prstGeom>
        </p:spPr>
        <p:txBody>
          <a:bodyPr vert="horz" lIns="0" tIns="0" rIns="0" bIns="0" rtlCol="0">
            <a:noAutofit/>
          </a:bodyPr>
          <a:lstStyle/>
          <a:p>
            <a:pPr lvl="0"/>
            <a:r>
              <a:rPr lang="en-GB" dirty="0"/>
              <a:t>Start typing to add text without a bullet point. To add a bullet point, place the cursor at the start of this line and press tab.</a:t>
            </a:r>
            <a:endParaRPr lang="en-US" noProof="0" dirty="0"/>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Placeholder"/>
          <p:cNvSpPr>
            <a:spLocks noGrp="1"/>
          </p:cNvSpPr>
          <p:nvPr userDrawn="1">
            <p:ph type="title"/>
          </p:nvPr>
        </p:nvSpPr>
        <p:spPr bwMode="black">
          <a:xfrm>
            <a:off x="504001" y="504000"/>
            <a:ext cx="11186476" cy="369332"/>
          </a:xfrm>
          <a:prstGeom prst="rect">
            <a:avLst/>
          </a:prstGeom>
        </p:spPr>
        <p:txBody>
          <a:bodyPr vert="horz" wrap="square" lIns="0" tIns="0" rIns="0" bIns="0" rtlCol="0" anchor="t" anchorCtr="0">
            <a:spAutoFit/>
          </a:bodyPr>
          <a:lstStyle/>
          <a:p>
            <a:r>
              <a:rPr lang="en-US" noProof="0" dirty="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30"/>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4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50"/>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51"/>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52"/>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31"/>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44"/>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45"/>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46"/>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47"/>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48"/>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32"/>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3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36"/>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3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38"/>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39"/>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40"/>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41"/>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42"/>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4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72 Brand" panose="020B0504030603020204" pitchFamily="34" charset="0"/>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33"/>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34"/>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117"/>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18"/>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19"/>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20"/>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21"/>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22"/>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23"/>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24"/>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25"/>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26"/>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27"/>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28"/>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29"/>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30"/>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31"/>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32"/>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33"/>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endParaRPr lang="en-GB" b="0" i="0" dirty="0">
                <a:latin typeface="72 Brand" panose="020B0504030603020204" pitchFamily="34" charset="0"/>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34"/>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endParaRPr lang="en-GB" b="0" i="0" dirty="0">
                <a:latin typeface="72 Brand" panose="020B0504030603020204" pitchFamily="34" charset="0"/>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8" y="5984668"/>
            <a:ext cx="10188208" cy="138499"/>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en-US" sz="900" b="0" i="0" kern="0" dirty="0">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0"/>
            <a:ext cx="2124070" cy="295649"/>
          </a:xfrm>
          <a:prstGeom prst="rect">
            <a:avLst/>
          </a:prstGeom>
          <a:solidFill>
            <a:schemeClr val="accent6">
              <a:lumMod val="60000"/>
              <a:lumOff val="40000"/>
            </a:schemeClr>
          </a:solidFill>
          <a:ln w="19050" cap="flat" cmpd="sng" algn="ctr">
            <a:noFill/>
            <a:prstDash val="solid"/>
          </a:ln>
          <a:effectLst/>
        </p:spPr>
        <p:txBody>
          <a:bodyPr lIns="322318" tIns="46556" rIns="89533" bIns="46556"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395" b="0" i="0" u="none" strike="noStrike" kern="0" cap="none" spc="0" normalizeH="0" baseline="0" noProof="0" dirty="0">
                <a:ln>
                  <a:noFill/>
                </a:ln>
                <a:solidFill>
                  <a:srgbClr val="FFFFFF"/>
                </a:solidFill>
                <a:effectLst/>
                <a:uLnTx/>
                <a:uFillTx/>
                <a:latin typeface="72 Brand" panose="020B0504030603020204" pitchFamily="34" charset="0"/>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4"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A0A0A"/>
              </a:solidFill>
              <a:effectLst/>
              <a:uLnTx/>
              <a:uFillTx/>
              <a:latin typeface="72 Brand" panose="020B0504030603020204" pitchFamily="34" charset="0"/>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4"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252" tIns="143252" rIns="143252" bIns="143252"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initials&gt; &lt;date&gt;</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yyyy</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MM-dd </a:t>
            </a:r>
            <a:r>
              <a:rPr kumimoji="0" lang="en-US" sz="1200" b="0" i="0" u="none" strike="noStrike" kern="0" cap="none" spc="0" normalizeH="0" baseline="0" noProof="0" dirty="0" err="1">
                <a:ln>
                  <a:noFill/>
                </a:ln>
                <a:solidFill>
                  <a:srgbClr val="0A0A0A"/>
                </a:solidFill>
                <a:effectLst/>
                <a:uLnTx/>
                <a:uFillTx/>
                <a:latin typeface="72 Brand" panose="020B0504030603020204" pitchFamily="34" charset="0"/>
              </a:rPr>
              <a:t>hh:mm</a:t>
            </a:r>
            <a:r>
              <a:rPr kumimoji="0" lang="en-US" sz="1200" b="0" i="0" u="none" strike="noStrike" kern="0" cap="none" spc="0" normalizeH="0" baseline="0" noProof="0" dirty="0">
                <a:ln>
                  <a:noFill/>
                </a:ln>
                <a:solidFill>
                  <a:srgbClr val="0A0A0A"/>
                </a:solidFill>
                <a:effectLst/>
                <a:uLnTx/>
                <a:uFillTx/>
                <a:latin typeface="72 Brand" panose="020B0504030603020204" pitchFamily="34" charset="0"/>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3" y="2819462"/>
            <a:ext cx="6361889" cy="1219077"/>
          </a:xfrm>
          <a:prstGeom prst="rect">
            <a:avLst/>
          </a:prstGeom>
          <a:no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en-US" sz="8800" b="0" i="0" u="none" strike="noStrike" kern="0" cap="none" spc="0" normalizeH="0" baseline="0" noProof="0" dirty="0">
                <a:ln>
                  <a:noFill/>
                </a:ln>
                <a:solidFill>
                  <a:schemeClr val="tx2"/>
                </a:solidFill>
                <a:effectLst/>
                <a:uLnTx/>
                <a:uFillTx/>
                <a:latin typeface="72 Brand" panose="020B0504030603020204" pitchFamily="34" charset="0"/>
                <a:ea typeface="72 Brand" pitchFamily="34" charset="-128"/>
                <a:cs typeface="72 Brand" pitchFamily="34" charset="-128"/>
              </a:rPr>
              <a:t>DRAFT</a:t>
            </a:r>
          </a:p>
        </p:txBody>
      </p:sp>
    </p:spTree>
    <p:extLst>
      <p:ext uri="{BB962C8B-B14F-4D97-AF65-F5344CB8AC3E}">
        <p14:creationId xmlns:p14="http://schemas.microsoft.com/office/powerpoint/2010/main" val="3408294523"/>
      </p:ext>
    </p:extLst>
  </p:cSld>
  <p:clrMap bg1="lt1" tx1="dk1" bg2="lt2" tx2="dk2" accent1="accent1" accent2="accent2" accent3="accent3" accent4="accent4" accent5="accent5" accent6="accent6" hlink="hlink" folHlink="folHlink"/>
  <p:sldLayoutIdLst>
    <p:sldLayoutId id="2147483773" r:id="rId1"/>
    <p:sldLayoutId id="2147483788" r:id="rId2"/>
    <p:sldLayoutId id="2147483789" r:id="rId3"/>
    <p:sldLayoutId id="2147483790" r:id="rId4"/>
    <p:sldLayoutId id="2147483791" r:id="rId5"/>
    <p:sldLayoutId id="2147483792" r:id="rId6"/>
    <p:sldLayoutId id="2147483793" r:id="rId7"/>
    <p:sldLayoutId id="2147483794" r:id="rId8"/>
    <p:sldLayoutId id="2147483741" r:id="rId9"/>
    <p:sldLayoutId id="2147483765" r:id="rId10"/>
    <p:sldLayoutId id="2147483767" r:id="rId11"/>
    <p:sldLayoutId id="2147483786" r:id="rId12"/>
    <p:sldLayoutId id="2147483743" r:id="rId13"/>
    <p:sldLayoutId id="2147483774" r:id="rId14"/>
    <p:sldLayoutId id="2147483745" r:id="rId15"/>
    <p:sldLayoutId id="2147483760" r:id="rId16"/>
    <p:sldLayoutId id="2147483768" r:id="rId17"/>
    <p:sldLayoutId id="2147483769" r:id="rId18"/>
    <p:sldLayoutId id="2147483770" r:id="rId19"/>
    <p:sldLayoutId id="2147483744" r:id="rId20"/>
    <p:sldLayoutId id="2147483757" r:id="rId21"/>
    <p:sldLayoutId id="2147483771" r:id="rId22"/>
    <p:sldLayoutId id="2147483763" r:id="rId23"/>
    <p:sldLayoutId id="2147483751" r:id="rId24"/>
    <p:sldLayoutId id="2147483756" r:id="rId25"/>
    <p:sldLayoutId id="2147483740" r:id="rId26"/>
    <p:sldLayoutId id="2147483816" r:id="rId27"/>
    <p:sldLayoutId id="2147483817" r:id="rId28"/>
  </p:sldLayoutIdLst>
  <p:hf hdr="0" ftr="0" dt="0"/>
  <p:txStyles>
    <p:titleStyle>
      <a:lvl1pPr algn="l" defTabSz="1088558" rtl="0" eaLnBrk="1" latinLnBrk="0" hangingPunct="1">
        <a:spcBef>
          <a:spcPct val="0"/>
        </a:spcBef>
        <a:buNone/>
        <a:defRPr sz="2400" b="0" i="0" kern="1200" baseline="0">
          <a:solidFill>
            <a:schemeClr val="tx1"/>
          </a:solidFill>
          <a:latin typeface="72 Brand Medium" panose="020B0504030603020204" pitchFamily="34" charset="0"/>
          <a:ea typeface="+mj-ea"/>
          <a:cs typeface="+mj-cs"/>
        </a:defRPr>
      </a:lvl1pPr>
    </p:titleStyle>
    <p:bodyStyle>
      <a:lvl1pPr marL="0" indent="0" algn="l" defTabSz="1088558" rtl="0" eaLnBrk="1" latinLnBrk="0" hangingPunct="1">
        <a:spcBef>
          <a:spcPts val="1800"/>
        </a:spcBef>
        <a:buClrTx/>
        <a:buSzPct val="80000"/>
        <a:buFont typeface="72 Brand" panose="02000000000000000000" pitchFamily="2" charset="0"/>
        <a:buChar char="​"/>
        <a:defRPr sz="2000" b="0" i="0" kern="1200">
          <a:solidFill>
            <a:schemeClr val="tx1"/>
          </a:solidFill>
          <a:latin typeface="+mn-lt"/>
          <a:ea typeface="+mn-ea"/>
          <a:cs typeface="+mn-cs"/>
        </a:defRPr>
      </a:lvl1pPr>
      <a:lvl2pPr marL="179964" indent="-179964" algn="l" defTabSz="1088558" rtl="0" eaLnBrk="1" latinLnBrk="0" hangingPunct="1">
        <a:spcBef>
          <a:spcPts val="600"/>
        </a:spcBef>
        <a:buClr>
          <a:schemeClr val="tx1"/>
        </a:buClr>
        <a:buSzPct val="100000"/>
        <a:buFont typeface="Arial" panose="020B0604020202020204" pitchFamily="34" charset="0"/>
        <a:buChar char="•"/>
        <a:defRPr sz="1800" b="0" i="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b="0" i="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80000"/>
        <a:buFont typeface="Courier New" panose="02070309020205020404" pitchFamily="49" charset="0"/>
        <a:buChar char="o"/>
        <a:defRPr sz="1600" b="0" i="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b="0" i="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558" rtl="0" eaLnBrk="1" latinLnBrk="0" hangingPunct="1">
        <a:defRPr sz="2100" kern="1200">
          <a:solidFill>
            <a:schemeClr val="tx1"/>
          </a:solidFill>
          <a:latin typeface="+mn-lt"/>
          <a:ea typeface="+mn-ea"/>
          <a:cs typeface="+mn-cs"/>
        </a:defRPr>
      </a:lvl1pPr>
      <a:lvl2pPr marL="544279" algn="l" defTabSz="1088558" rtl="0" eaLnBrk="1" latinLnBrk="0" hangingPunct="1">
        <a:defRPr sz="2100" kern="1200">
          <a:solidFill>
            <a:schemeClr val="tx1"/>
          </a:solidFill>
          <a:latin typeface="+mn-lt"/>
          <a:ea typeface="+mn-ea"/>
          <a:cs typeface="+mn-cs"/>
        </a:defRPr>
      </a:lvl2pPr>
      <a:lvl3pPr marL="1088558" algn="l" defTabSz="1088558" rtl="0" eaLnBrk="1" latinLnBrk="0" hangingPunct="1">
        <a:defRPr sz="2100" kern="1200">
          <a:solidFill>
            <a:schemeClr val="tx1"/>
          </a:solidFill>
          <a:latin typeface="+mn-lt"/>
          <a:ea typeface="+mn-ea"/>
          <a:cs typeface="+mn-cs"/>
        </a:defRPr>
      </a:lvl3pPr>
      <a:lvl4pPr marL="1632837" algn="l" defTabSz="1088558" rtl="0" eaLnBrk="1" latinLnBrk="0" hangingPunct="1">
        <a:defRPr sz="2100" kern="1200">
          <a:solidFill>
            <a:schemeClr val="tx1"/>
          </a:solidFill>
          <a:latin typeface="+mn-lt"/>
          <a:ea typeface="+mn-ea"/>
          <a:cs typeface="+mn-cs"/>
        </a:defRPr>
      </a:lvl4pPr>
      <a:lvl5pPr marL="2177116" algn="l" defTabSz="1088558" rtl="0" eaLnBrk="1" latinLnBrk="0" hangingPunct="1">
        <a:defRPr sz="2100" kern="1200">
          <a:solidFill>
            <a:schemeClr val="tx1"/>
          </a:solidFill>
          <a:latin typeface="+mn-lt"/>
          <a:ea typeface="+mn-ea"/>
          <a:cs typeface="+mn-cs"/>
        </a:defRPr>
      </a:lvl5pPr>
      <a:lvl6pPr marL="2721396" algn="l" defTabSz="1088558" rtl="0" eaLnBrk="1" latinLnBrk="0" hangingPunct="1">
        <a:defRPr sz="2100" kern="1200">
          <a:solidFill>
            <a:schemeClr val="tx1"/>
          </a:solidFill>
          <a:latin typeface="+mn-lt"/>
          <a:ea typeface="+mn-ea"/>
          <a:cs typeface="+mn-cs"/>
        </a:defRPr>
      </a:lvl6pPr>
      <a:lvl7pPr marL="3265675" algn="l" defTabSz="1088558" rtl="0" eaLnBrk="1" latinLnBrk="0" hangingPunct="1">
        <a:defRPr sz="2100" kern="1200">
          <a:solidFill>
            <a:schemeClr val="tx1"/>
          </a:solidFill>
          <a:latin typeface="+mn-lt"/>
          <a:ea typeface="+mn-ea"/>
          <a:cs typeface="+mn-cs"/>
        </a:defRPr>
      </a:lvl7pPr>
      <a:lvl8pPr marL="3809954" algn="l" defTabSz="1088558" rtl="0" eaLnBrk="1" latinLnBrk="0" hangingPunct="1">
        <a:defRPr sz="2100" kern="1200">
          <a:solidFill>
            <a:schemeClr val="tx1"/>
          </a:solidFill>
          <a:latin typeface="+mn-lt"/>
          <a:ea typeface="+mn-ea"/>
          <a:cs typeface="+mn-cs"/>
        </a:defRPr>
      </a:lvl8pPr>
      <a:lvl9pPr marL="4354233" algn="l" defTabSz="1088558" rtl="0" eaLnBrk="1" latinLnBrk="0" hangingPunct="1">
        <a:defRPr sz="21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0CD790E1-720F-AF41-206B-C6F9F90832B3}"/>
              </a:ext>
            </a:extLst>
          </p:cNvPr>
          <p:cNvGraphicFramePr>
            <a:graphicFrameLocks noChangeAspect="1"/>
          </p:cNvGraphicFramePr>
          <p:nvPr userDrawn="1">
            <p:custDataLst>
              <p:tags r:id="rId11"/>
            </p:custDataLst>
            <p:extLst>
              <p:ext uri="{D42A27DB-BD31-4B8C-83A1-F6EECF244321}">
                <p14:modId xmlns:p14="http://schemas.microsoft.com/office/powerpoint/2010/main" val="1445059077"/>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135" imgW="404" imgH="405" progId="TCLayout.ActiveDocument.1">
                  <p:embed/>
                </p:oleObj>
              </mc:Choice>
              <mc:Fallback>
                <p:oleObj name="think-cell Slide" r:id="rId135" imgW="404" imgH="405" progId="TCLayout.ActiveDocument.1">
                  <p:embed/>
                  <p:pic>
                    <p:nvPicPr>
                      <p:cNvPr id="12" name="think-cell data - do not delete" hidden="1">
                        <a:extLst>
                          <a:ext uri="{FF2B5EF4-FFF2-40B4-BE49-F238E27FC236}">
                            <a16:creationId xmlns:a16="http://schemas.microsoft.com/office/drawing/2014/main" id="{0CD790E1-720F-AF41-206B-C6F9F90832B3}"/>
                          </a:ext>
                        </a:extLst>
                      </p:cNvPr>
                      <p:cNvPicPr/>
                      <p:nvPr/>
                    </p:nvPicPr>
                    <p:blipFill>
                      <a:blip r:embed="rId136"/>
                      <a:stretch>
                        <a:fillRect/>
                      </a:stretch>
                    </p:blipFill>
                    <p:spPr>
                      <a:xfrm>
                        <a:off x="1589" y="1588"/>
                        <a:ext cx="1589" cy="1588"/>
                      </a:xfrm>
                      <a:prstGeom prst="rect">
                        <a:avLst/>
                      </a:prstGeom>
                    </p:spPr>
                  </p:pic>
                </p:oleObj>
              </mc:Fallback>
            </mc:AlternateContent>
          </a:graphicData>
        </a:graphic>
      </p:graphicFrame>
      <p:sp>
        <p:nvSpPr>
          <p:cNvPr id="34" name="Slide number"/>
          <p:cNvSpPr txBox="1"/>
          <p:nvPr userDrawn="1"/>
        </p:nvSpPr>
        <p:spPr bwMode="black">
          <a:xfrm>
            <a:off x="11484003" y="6536753"/>
            <a:ext cx="144270"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marR="0" lvl="0" indent="0" algn="r" defTabSz="1088232" rtl="0" eaLnBrk="1" fontAlgn="auto" latinLnBrk="0" hangingPunct="1">
              <a:lnSpc>
                <a:spcPct val="100000"/>
              </a:lnSpc>
              <a:spcBef>
                <a:spcPts val="0"/>
              </a:spcBef>
              <a:spcAft>
                <a:spcPts val="0"/>
              </a:spcAft>
              <a:buClr>
                <a:srgbClr val="000000"/>
              </a:buClr>
              <a:buSzTx/>
              <a:buFont typeface="Arial" pitchFamily="34" charset="0"/>
              <a:buNone/>
              <a:tabLst/>
              <a:defRPr/>
            </a:pPr>
            <a:fld id="{0BDC132A-5C91-4078-9777-31DA19A62E0A}" type="slidenum">
              <a:rPr kumimoji="0" lang="en-US" sz="900" b="0" i="0" u="none" strike="noStrike" kern="1200" cap="none" spc="0" normalizeH="0" baseline="0" noProof="0" smtClean="0">
                <a:ln>
                  <a:noFill/>
                </a:ln>
                <a:solidFill>
                  <a:srgbClr val="000000"/>
                </a:solidFill>
                <a:effectLst/>
                <a:uLnTx/>
                <a:uFillTx/>
                <a:latin typeface="72 Brand" panose="020B0504030603020204" pitchFamily="34" charset="0"/>
                <a:ea typeface="+mn-ea"/>
                <a:cs typeface="+mn-cs"/>
              </a:rPr>
              <a:pPr marL="0" marR="0" lvl="0" indent="0" algn="r" defTabSz="1088232" rtl="0" eaLnBrk="1" fontAlgn="auto" latinLnBrk="0" hangingPunct="1">
                <a:lnSpc>
                  <a:spcPct val="100000"/>
                </a:lnSpc>
                <a:spcBef>
                  <a:spcPts val="0"/>
                </a:spcBef>
                <a:spcAft>
                  <a:spcPts val="0"/>
                </a:spcAft>
                <a:buClr>
                  <a:srgbClr val="000000"/>
                </a:buClr>
                <a:buSzTx/>
                <a:buFont typeface="Arial" pitchFamily="34" charset="0"/>
                <a:buNone/>
                <a:tabLst/>
                <a:defRPr/>
              </a:pPr>
              <a:t>‹Nr.›</a:t>
            </a:fld>
            <a:endParaRPr kumimoji="0" lang="en-US" sz="9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 name="Text Placeholder"/>
          <p:cNvSpPr>
            <a:spLocks noGrp="1"/>
          </p:cNvSpPr>
          <p:nvPr userDrawn="1">
            <p:ph type="body" idx="1"/>
          </p:nvPr>
        </p:nvSpPr>
        <p:spPr bwMode="black">
          <a:xfrm>
            <a:off x="573088" y="1337389"/>
            <a:ext cx="11049001" cy="2090056"/>
          </a:xfrm>
          <a:prstGeom prst="rect">
            <a:avLst/>
          </a:prstGeom>
        </p:spPr>
        <p:txBody>
          <a:bodyPr vert="horz" lIns="0" tIns="0" rIns="0" bIns="0" rtlCol="0">
            <a:noAutofit/>
          </a:bodyPr>
          <a:lstStyle/>
          <a:p>
            <a:pPr lvl="0"/>
            <a:r>
              <a:rPr lang="en-GB"/>
              <a:t>Start typing to add text without a bullet point. To add a bullet point, place the cursor at the start of this line and press tab.</a:t>
            </a:r>
            <a:endParaRPr lang="en-US" noProof="0"/>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54428" y="490635"/>
            <a:ext cx="11067660" cy="369332"/>
          </a:xfrm>
          <a:prstGeom prst="rect">
            <a:avLst/>
          </a:prstGeom>
        </p:spPr>
        <p:txBody>
          <a:bodyPr vert="horz" wrap="square" lIns="0" tIns="0" rIns="0" bIns="0" rtlCol="0" anchor="t" anchorCtr="0">
            <a:spAutoFit/>
          </a:bodyPr>
          <a:lstStyle/>
          <a:p>
            <a:r>
              <a:rPr lang="en-US" noProof="0"/>
              <a:t>Insert page title (sentence case)</a:t>
            </a:r>
          </a:p>
        </p:txBody>
      </p:sp>
      <p:grpSp>
        <p:nvGrpSpPr>
          <p:cNvPr id="6" name="Harvey 3" hidden="1">
            <a:extLst>
              <a:ext uri="{FF2B5EF4-FFF2-40B4-BE49-F238E27FC236}">
                <a16:creationId xmlns:a16="http://schemas.microsoft.com/office/drawing/2014/main" id="{B3E7C216-6801-4AB8-8D95-E7D60F39B210}"/>
              </a:ext>
            </a:extLst>
          </p:cNvPr>
          <p:cNvGrpSpPr>
            <a:grpSpLocks/>
          </p:cNvGrpSpPr>
          <p:nvPr userDrawn="1">
            <p:custDataLst>
              <p:tags r:id="rId12"/>
            </p:custDataLst>
          </p:nvPr>
        </p:nvGrpSpPr>
        <p:grpSpPr>
          <a:xfrm>
            <a:off x="3938798" y="3978000"/>
            <a:ext cx="1024878" cy="1024878"/>
            <a:chOff x="0" y="0"/>
            <a:chExt cx="914400" cy="914400"/>
          </a:xfrm>
          <a:solidFill>
            <a:schemeClr val="accent1"/>
          </a:solidFill>
        </p:grpSpPr>
        <p:sp>
          <p:nvSpPr>
            <p:cNvPr id="7" name="Harvey 0/3 [0]">
              <a:extLst>
                <a:ext uri="{FF2B5EF4-FFF2-40B4-BE49-F238E27FC236}">
                  <a16:creationId xmlns:a16="http://schemas.microsoft.com/office/drawing/2014/main" id="{FC8CECD5-A3FB-4DD5-A846-DC09FDB6EB04}"/>
                </a:ext>
              </a:extLst>
            </p:cNvPr>
            <p:cNvSpPr>
              <a:spLocks noChangeAspect="1"/>
            </p:cNvSpPr>
            <p:nvPr>
              <p:custDataLst>
                <p:tags r:id="rId131"/>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 name="Harvey 1/3 [1]">
              <a:extLst>
                <a:ext uri="{FF2B5EF4-FFF2-40B4-BE49-F238E27FC236}">
                  <a16:creationId xmlns:a16="http://schemas.microsoft.com/office/drawing/2014/main" id="{750B853B-8389-4427-AFB9-1CE880FE9BEE}"/>
                </a:ext>
              </a:extLst>
            </p:cNvPr>
            <p:cNvSpPr>
              <a:spLocks noChangeAspect="1"/>
            </p:cNvSpPr>
            <p:nvPr>
              <p:custDataLst>
                <p:tags r:id="rId132"/>
              </p:custDataLst>
            </p:nvPr>
          </p:nvSpPr>
          <p:spPr>
            <a:xfrm>
              <a:off x="0" y="0"/>
              <a:ext cx="914400" cy="914400"/>
            </a:xfrm>
            <a:custGeom>
              <a:avLst/>
              <a:gdLst/>
              <a:ahLst/>
              <a:cxnLst/>
              <a:rect l="l" t="t" r="r" b="b"/>
              <a:pathLst>
                <a:path w="635000" h="635000">
                  <a:moveTo>
                    <a:pt x="317500" y="0"/>
                  </a:moveTo>
                  <a:arcTo wR="317500" hR="317500" stAng="16200000" swAng="7200000"/>
                  <a:lnTo>
                    <a:pt x="317500" y="317500"/>
                  </a:lnTo>
                  <a:close/>
                </a:path>
                <a:path w="635000" h="635000" fill="none">
                  <a:moveTo>
                    <a:pt x="592463" y="476249"/>
                  </a:moveTo>
                  <a:arcTo wR="317500" hR="317500" stAng="1800000" swAng="14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 name="Harvey 2/3 [2]">
              <a:extLst>
                <a:ext uri="{FF2B5EF4-FFF2-40B4-BE49-F238E27FC236}">
                  <a16:creationId xmlns:a16="http://schemas.microsoft.com/office/drawing/2014/main" id="{0CA9A207-7055-4A72-8ED2-D82605C3D0C8}"/>
                </a:ext>
              </a:extLst>
            </p:cNvPr>
            <p:cNvSpPr>
              <a:spLocks noChangeAspect="1"/>
            </p:cNvSpPr>
            <p:nvPr>
              <p:custDataLst>
                <p:tags r:id="rId133"/>
              </p:custDataLst>
            </p:nvPr>
          </p:nvSpPr>
          <p:spPr>
            <a:xfrm>
              <a:off x="0" y="0"/>
              <a:ext cx="914400" cy="914400"/>
            </a:xfrm>
            <a:custGeom>
              <a:avLst/>
              <a:gdLst/>
              <a:ahLst/>
              <a:cxnLst/>
              <a:rect l="l" t="t" r="r" b="b"/>
              <a:pathLst>
                <a:path w="635000" h="635000">
                  <a:moveTo>
                    <a:pt x="317500" y="0"/>
                  </a:moveTo>
                  <a:arcTo wR="317500" hR="317500" stAng="16200000" swAng="14400000"/>
                  <a:lnTo>
                    <a:pt x="317500" y="317500"/>
                  </a:lnTo>
                  <a:close/>
                </a:path>
                <a:path w="635000" h="635000" fill="none">
                  <a:moveTo>
                    <a:pt x="42536" y="476250"/>
                  </a:moveTo>
                  <a:arcTo wR="317500" hR="317500" stAng="9000000" swAng="7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 name="Harvey 3/3 [3]">
              <a:extLst>
                <a:ext uri="{FF2B5EF4-FFF2-40B4-BE49-F238E27FC236}">
                  <a16:creationId xmlns:a16="http://schemas.microsoft.com/office/drawing/2014/main" id="{4422C816-875A-41F5-9DC0-8DBAE4C5C6CB}"/>
                </a:ext>
              </a:extLst>
            </p:cNvPr>
            <p:cNvSpPr>
              <a:spLocks noChangeAspect="1"/>
            </p:cNvSpPr>
            <p:nvPr>
              <p:custDataLst>
                <p:tags r:id="rId134"/>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1" name="Harvey 4" hidden="1">
            <a:extLst>
              <a:ext uri="{FF2B5EF4-FFF2-40B4-BE49-F238E27FC236}">
                <a16:creationId xmlns:a16="http://schemas.microsoft.com/office/drawing/2014/main" id="{DDC5C333-7028-4F79-8940-98DC17723588}"/>
              </a:ext>
            </a:extLst>
          </p:cNvPr>
          <p:cNvGrpSpPr>
            <a:grpSpLocks/>
          </p:cNvGrpSpPr>
          <p:nvPr userDrawn="1">
            <p:custDataLst>
              <p:tags r:id="rId13"/>
            </p:custDataLst>
          </p:nvPr>
        </p:nvGrpSpPr>
        <p:grpSpPr>
          <a:xfrm>
            <a:off x="5391506" y="3978000"/>
            <a:ext cx="1024878" cy="1024878"/>
            <a:chOff x="0" y="0"/>
            <a:chExt cx="914400" cy="914400"/>
          </a:xfrm>
          <a:solidFill>
            <a:schemeClr val="accent1"/>
          </a:solidFill>
        </p:grpSpPr>
        <p:sp>
          <p:nvSpPr>
            <p:cNvPr id="13" name="Harvey 0/4 [0]">
              <a:extLst>
                <a:ext uri="{FF2B5EF4-FFF2-40B4-BE49-F238E27FC236}">
                  <a16:creationId xmlns:a16="http://schemas.microsoft.com/office/drawing/2014/main" id="{70B331E2-39A8-4BAF-8DDD-C631B51EB56E}"/>
                </a:ext>
              </a:extLst>
            </p:cNvPr>
            <p:cNvSpPr>
              <a:spLocks noChangeAspect="1"/>
            </p:cNvSpPr>
            <p:nvPr>
              <p:custDataLst>
                <p:tags r:id="rId126"/>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4" name="Harvey 1/4 [1]">
              <a:extLst>
                <a:ext uri="{FF2B5EF4-FFF2-40B4-BE49-F238E27FC236}">
                  <a16:creationId xmlns:a16="http://schemas.microsoft.com/office/drawing/2014/main" id="{47F66FBA-2801-4875-BD13-0BF512FC3C6A}"/>
                </a:ext>
              </a:extLst>
            </p:cNvPr>
            <p:cNvSpPr>
              <a:spLocks noChangeAspect="1"/>
            </p:cNvSpPr>
            <p:nvPr>
              <p:custDataLst>
                <p:tags r:id="rId127"/>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5" name="Harvey 2/4 [2]">
              <a:extLst>
                <a:ext uri="{FF2B5EF4-FFF2-40B4-BE49-F238E27FC236}">
                  <a16:creationId xmlns:a16="http://schemas.microsoft.com/office/drawing/2014/main" id="{99673DAB-5272-45DC-B222-CA8CAA9FD2BB}"/>
                </a:ext>
              </a:extLst>
            </p:cNvPr>
            <p:cNvSpPr>
              <a:spLocks noChangeAspect="1"/>
            </p:cNvSpPr>
            <p:nvPr>
              <p:custDataLst>
                <p:tags r:id="rId128"/>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6" name="Harvey 3/4 [3]">
              <a:extLst>
                <a:ext uri="{FF2B5EF4-FFF2-40B4-BE49-F238E27FC236}">
                  <a16:creationId xmlns:a16="http://schemas.microsoft.com/office/drawing/2014/main" id="{F9B9444B-C98D-45FC-BA92-881D06827328}"/>
                </a:ext>
              </a:extLst>
            </p:cNvPr>
            <p:cNvSpPr>
              <a:spLocks noChangeAspect="1"/>
            </p:cNvSpPr>
            <p:nvPr>
              <p:custDataLst>
                <p:tags r:id="rId129"/>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7" name="Harvey 4/4 [4]">
              <a:extLst>
                <a:ext uri="{FF2B5EF4-FFF2-40B4-BE49-F238E27FC236}">
                  <a16:creationId xmlns:a16="http://schemas.microsoft.com/office/drawing/2014/main" id="{5FFB853D-F550-4F16-8269-A070A19E381C}"/>
                </a:ext>
              </a:extLst>
            </p:cNvPr>
            <p:cNvSpPr>
              <a:spLocks noChangeAspect="1"/>
            </p:cNvSpPr>
            <p:nvPr>
              <p:custDataLst>
                <p:tags r:id="rId130"/>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18" name="Harvey 8" hidden="1">
            <a:extLst>
              <a:ext uri="{FF2B5EF4-FFF2-40B4-BE49-F238E27FC236}">
                <a16:creationId xmlns:a16="http://schemas.microsoft.com/office/drawing/2014/main" id="{0630AB66-7B5F-41CE-A2EB-2EB4C67794AE}"/>
              </a:ext>
            </a:extLst>
          </p:cNvPr>
          <p:cNvGrpSpPr>
            <a:grpSpLocks/>
          </p:cNvGrpSpPr>
          <p:nvPr userDrawn="1">
            <p:custDataLst>
              <p:tags r:id="rId14"/>
            </p:custDataLst>
          </p:nvPr>
        </p:nvGrpSpPr>
        <p:grpSpPr>
          <a:xfrm>
            <a:off x="6844214" y="3978000"/>
            <a:ext cx="1024878" cy="1024878"/>
            <a:chOff x="0" y="0"/>
            <a:chExt cx="914400" cy="914400"/>
          </a:xfrm>
          <a:solidFill>
            <a:schemeClr val="accent1"/>
          </a:solidFill>
        </p:grpSpPr>
        <p:sp>
          <p:nvSpPr>
            <p:cNvPr id="19" name="Harvey 0/8 [0]">
              <a:extLst>
                <a:ext uri="{FF2B5EF4-FFF2-40B4-BE49-F238E27FC236}">
                  <a16:creationId xmlns:a16="http://schemas.microsoft.com/office/drawing/2014/main" id="{051D5678-1EFE-40CF-8563-B5E9EA35A271}"/>
                </a:ext>
              </a:extLst>
            </p:cNvPr>
            <p:cNvSpPr>
              <a:spLocks noChangeAspect="1"/>
            </p:cNvSpPr>
            <p:nvPr>
              <p:custDataLst>
                <p:tags r:id="rId117"/>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0" name="Harvey 1/8 [1]">
              <a:extLst>
                <a:ext uri="{FF2B5EF4-FFF2-40B4-BE49-F238E27FC236}">
                  <a16:creationId xmlns:a16="http://schemas.microsoft.com/office/drawing/2014/main" id="{E5DDEB4B-B8B3-42DA-AF30-4FD0A1770D91}"/>
                </a:ext>
              </a:extLst>
            </p:cNvPr>
            <p:cNvSpPr>
              <a:spLocks noChangeAspect="1"/>
            </p:cNvSpPr>
            <p:nvPr>
              <p:custDataLst>
                <p:tags r:id="rId118"/>
              </p:custDataLst>
            </p:nvPr>
          </p:nvSpPr>
          <p:spPr>
            <a:xfrm>
              <a:off x="0" y="0"/>
              <a:ext cx="914400" cy="914400"/>
            </a:xfrm>
            <a:custGeom>
              <a:avLst/>
              <a:gdLst/>
              <a:ahLst/>
              <a:cxnLst/>
              <a:rect l="l" t="t" r="r" b="b"/>
              <a:pathLst>
                <a:path w="635000" h="635000">
                  <a:moveTo>
                    <a:pt x="317500" y="0"/>
                  </a:moveTo>
                  <a:arcTo wR="317500" hR="317500" stAng="16200000" swAng="2700000"/>
                  <a:lnTo>
                    <a:pt x="317500" y="317500"/>
                  </a:lnTo>
                  <a:close/>
                </a:path>
                <a:path w="635000" h="635000" fill="none">
                  <a:moveTo>
                    <a:pt x="542006" y="92993"/>
                  </a:moveTo>
                  <a:arcTo wR="317500" hR="317500" stAng="-2700000" swAng="189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1" name="Harvey 2/8 [2]">
              <a:extLst>
                <a:ext uri="{FF2B5EF4-FFF2-40B4-BE49-F238E27FC236}">
                  <a16:creationId xmlns:a16="http://schemas.microsoft.com/office/drawing/2014/main" id="{FB9200C4-0418-4CEF-BBB8-18F997AD7CA8}"/>
                </a:ext>
              </a:extLst>
            </p:cNvPr>
            <p:cNvSpPr>
              <a:spLocks noChangeAspect="1"/>
            </p:cNvSpPr>
            <p:nvPr>
              <p:custDataLst>
                <p:tags r:id="rId119"/>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2" name="Harvey 3/8 [3]">
              <a:extLst>
                <a:ext uri="{FF2B5EF4-FFF2-40B4-BE49-F238E27FC236}">
                  <a16:creationId xmlns:a16="http://schemas.microsoft.com/office/drawing/2014/main" id="{8E4DE7E8-0809-4E2E-BE6A-E989A6AEBF62}"/>
                </a:ext>
              </a:extLst>
            </p:cNvPr>
            <p:cNvSpPr>
              <a:spLocks noChangeAspect="1"/>
            </p:cNvSpPr>
            <p:nvPr>
              <p:custDataLst>
                <p:tags r:id="rId120"/>
              </p:custDataLst>
            </p:nvPr>
          </p:nvSpPr>
          <p:spPr>
            <a:xfrm>
              <a:off x="0" y="0"/>
              <a:ext cx="914400" cy="914400"/>
            </a:xfrm>
            <a:custGeom>
              <a:avLst/>
              <a:gdLst/>
              <a:ahLst/>
              <a:cxnLst/>
              <a:rect l="l" t="t" r="r" b="b"/>
              <a:pathLst>
                <a:path w="635000" h="635000">
                  <a:moveTo>
                    <a:pt x="317500" y="0"/>
                  </a:moveTo>
                  <a:arcTo wR="317500" hR="317500" stAng="16200000" swAng="8100000"/>
                  <a:lnTo>
                    <a:pt x="317500" y="317500"/>
                  </a:lnTo>
                  <a:close/>
                </a:path>
                <a:path w="635000" h="635000" fill="none">
                  <a:moveTo>
                    <a:pt x="542006" y="542006"/>
                  </a:moveTo>
                  <a:arcTo wR="317500" hR="317500" stAng="2700000" swAng="135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3" name="Harvey 4/8 [4]">
              <a:extLst>
                <a:ext uri="{FF2B5EF4-FFF2-40B4-BE49-F238E27FC236}">
                  <a16:creationId xmlns:a16="http://schemas.microsoft.com/office/drawing/2014/main" id="{F839E6A9-0DED-402B-8F4C-2176769B55CD}"/>
                </a:ext>
              </a:extLst>
            </p:cNvPr>
            <p:cNvSpPr>
              <a:spLocks noChangeAspect="1"/>
            </p:cNvSpPr>
            <p:nvPr>
              <p:custDataLst>
                <p:tags r:id="rId12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4" name="Harvey 5/8 [5]">
              <a:extLst>
                <a:ext uri="{FF2B5EF4-FFF2-40B4-BE49-F238E27FC236}">
                  <a16:creationId xmlns:a16="http://schemas.microsoft.com/office/drawing/2014/main" id="{C3EE8663-AD08-4237-8344-6543EC4B688C}"/>
                </a:ext>
              </a:extLst>
            </p:cNvPr>
            <p:cNvSpPr>
              <a:spLocks noChangeAspect="1"/>
            </p:cNvSpPr>
            <p:nvPr>
              <p:custDataLst>
                <p:tags r:id="rId122"/>
              </p:custDataLst>
            </p:nvPr>
          </p:nvSpPr>
          <p:spPr>
            <a:xfrm>
              <a:off x="0" y="0"/>
              <a:ext cx="914400" cy="914400"/>
            </a:xfrm>
            <a:custGeom>
              <a:avLst/>
              <a:gdLst/>
              <a:ahLst/>
              <a:cxnLst/>
              <a:rect l="l" t="t" r="r" b="b"/>
              <a:pathLst>
                <a:path w="635000" h="635000">
                  <a:moveTo>
                    <a:pt x="317500" y="0"/>
                  </a:moveTo>
                  <a:arcTo wR="317500" hR="317500" stAng="16200000" swAng="13500000"/>
                  <a:lnTo>
                    <a:pt x="317500" y="317500"/>
                  </a:lnTo>
                  <a:close/>
                </a:path>
                <a:path w="635000" h="635000" fill="none">
                  <a:moveTo>
                    <a:pt x="92993" y="542006"/>
                  </a:moveTo>
                  <a:arcTo wR="317500" hR="317500" stAng="8100000" swAng="81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5" name="Harvey 6/8 [6]">
              <a:extLst>
                <a:ext uri="{FF2B5EF4-FFF2-40B4-BE49-F238E27FC236}">
                  <a16:creationId xmlns:a16="http://schemas.microsoft.com/office/drawing/2014/main" id="{ADE6F931-D156-4E59-A3ED-0B14B5F0EF7E}"/>
                </a:ext>
              </a:extLst>
            </p:cNvPr>
            <p:cNvSpPr>
              <a:spLocks noChangeAspect="1"/>
            </p:cNvSpPr>
            <p:nvPr>
              <p:custDataLst>
                <p:tags r:id="rId123"/>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6" name="Harvey 7/8 [7]">
              <a:extLst>
                <a:ext uri="{FF2B5EF4-FFF2-40B4-BE49-F238E27FC236}">
                  <a16:creationId xmlns:a16="http://schemas.microsoft.com/office/drawing/2014/main" id="{A36821AE-2FF1-4F6E-AAF3-1BEA6AE153B8}"/>
                </a:ext>
              </a:extLst>
            </p:cNvPr>
            <p:cNvSpPr>
              <a:spLocks noChangeAspect="1"/>
            </p:cNvSpPr>
            <p:nvPr>
              <p:custDataLst>
                <p:tags r:id="rId124"/>
              </p:custDataLst>
            </p:nvPr>
          </p:nvSpPr>
          <p:spPr>
            <a:xfrm>
              <a:off x="0" y="0"/>
              <a:ext cx="914400" cy="914400"/>
            </a:xfrm>
            <a:custGeom>
              <a:avLst/>
              <a:gdLst/>
              <a:ahLst/>
              <a:cxnLst/>
              <a:rect l="l" t="t" r="r" b="b"/>
              <a:pathLst>
                <a:path w="635000" h="635000">
                  <a:moveTo>
                    <a:pt x="317500" y="0"/>
                  </a:moveTo>
                  <a:arcTo wR="317500" hR="317500" stAng="16200000" swAng="18900000"/>
                  <a:lnTo>
                    <a:pt x="317500" y="317500"/>
                  </a:lnTo>
                  <a:close/>
                </a:path>
                <a:path w="635000" h="635000" fill="none">
                  <a:moveTo>
                    <a:pt x="92993" y="92993"/>
                  </a:moveTo>
                  <a:arcTo wR="317500" hR="317500" stAng="13500000" swAng="27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27" name="Harvey 8/8 [8]">
              <a:extLst>
                <a:ext uri="{FF2B5EF4-FFF2-40B4-BE49-F238E27FC236}">
                  <a16:creationId xmlns:a16="http://schemas.microsoft.com/office/drawing/2014/main" id="{2D277E47-45D5-4503-8443-BED560C6560A}"/>
                </a:ext>
              </a:extLst>
            </p:cNvPr>
            <p:cNvSpPr>
              <a:spLocks noChangeAspect="1"/>
            </p:cNvSpPr>
            <p:nvPr>
              <p:custDataLst>
                <p:tags r:id="rId125"/>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232"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grpSp>
        <p:nvGrpSpPr>
          <p:cNvPr id="28" name="Harvey 100" hidden="1">
            <a:extLst>
              <a:ext uri="{FF2B5EF4-FFF2-40B4-BE49-F238E27FC236}">
                <a16:creationId xmlns:a16="http://schemas.microsoft.com/office/drawing/2014/main" id="{6D5D9337-395C-4FE4-97E6-E1CD47A644E9}"/>
              </a:ext>
            </a:extLst>
          </p:cNvPr>
          <p:cNvGrpSpPr/>
          <p:nvPr userDrawn="1">
            <p:custDataLst>
              <p:tags r:id="rId15"/>
            </p:custDataLst>
          </p:nvPr>
        </p:nvGrpSpPr>
        <p:grpSpPr>
          <a:xfrm>
            <a:off x="8296922" y="3978000"/>
            <a:ext cx="1024878" cy="1024878"/>
            <a:chOff x="4334905" y="3282696"/>
            <a:chExt cx="292608" cy="292608"/>
          </a:xfrm>
          <a:solidFill>
            <a:schemeClr val="accent1"/>
          </a:solidFill>
        </p:grpSpPr>
        <p:sp>
          <p:nvSpPr>
            <p:cNvPr id="29" name="Harvey 0/100 [0]">
              <a:extLst>
                <a:ext uri="{FF2B5EF4-FFF2-40B4-BE49-F238E27FC236}">
                  <a16:creationId xmlns:a16="http://schemas.microsoft.com/office/drawing/2014/main" id="{C2D4C837-2D4B-4D6B-81F8-9B001989609B}"/>
                </a:ext>
              </a:extLst>
            </p:cNvPr>
            <p:cNvSpPr>
              <a:spLocks noChangeAspect="1"/>
            </p:cNvSpPr>
            <p:nvPr>
              <p:custDataLst>
                <p:tags r:id="rId16"/>
              </p:custDataLst>
            </p:nvPr>
          </p:nvSpPr>
          <p:spPr>
            <a:xfrm>
              <a:off x="4334905" y="3282696"/>
              <a:ext cx="292608" cy="292608"/>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0" name="Harvey 1/100 [1]">
              <a:extLst>
                <a:ext uri="{FF2B5EF4-FFF2-40B4-BE49-F238E27FC236}">
                  <a16:creationId xmlns:a16="http://schemas.microsoft.com/office/drawing/2014/main" id="{BACD6AAA-4A1C-46BE-B491-9A4A9C7C56F3}"/>
                </a:ext>
              </a:extLst>
            </p:cNvPr>
            <p:cNvSpPr>
              <a:spLocks noChangeAspect="1"/>
            </p:cNvSpPr>
            <p:nvPr>
              <p:custDataLst>
                <p:tags r:id="rId17"/>
              </p:custDataLst>
            </p:nvPr>
          </p:nvSpPr>
          <p:spPr>
            <a:xfrm>
              <a:off x="4334905" y="3282696"/>
              <a:ext cx="292608" cy="292608"/>
            </a:xfrm>
            <a:custGeom>
              <a:avLst/>
              <a:gdLst/>
              <a:ahLst/>
              <a:cxnLst/>
              <a:rect l="l" t="t" r="r" b="b"/>
              <a:pathLst>
                <a:path w="635000" h="635000">
                  <a:moveTo>
                    <a:pt x="317500" y="0"/>
                  </a:moveTo>
                  <a:arcTo wR="317500" hR="317500" stAng="16200000" swAng="216000"/>
                  <a:lnTo>
                    <a:pt x="317500" y="317500"/>
                  </a:lnTo>
                  <a:close/>
                </a:path>
                <a:path w="635000" h="635000" fill="none">
                  <a:moveTo>
                    <a:pt x="337435" y="626"/>
                  </a:moveTo>
                  <a:arcTo wR="317500" hR="317500" stAng="-5184000" swAng="2138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1" name="Harvey 2/100 [2]">
              <a:extLst>
                <a:ext uri="{FF2B5EF4-FFF2-40B4-BE49-F238E27FC236}">
                  <a16:creationId xmlns:a16="http://schemas.microsoft.com/office/drawing/2014/main" id="{701024C3-4DEF-477C-9CFB-100E0303499E}"/>
                </a:ext>
              </a:extLst>
            </p:cNvPr>
            <p:cNvSpPr>
              <a:spLocks noChangeAspect="1"/>
            </p:cNvSpPr>
            <p:nvPr>
              <p:custDataLst>
                <p:tags r:id="rId18"/>
              </p:custDataLst>
            </p:nvPr>
          </p:nvSpPr>
          <p:spPr>
            <a:xfrm>
              <a:off x="4334905" y="3282696"/>
              <a:ext cx="292608" cy="292608"/>
            </a:xfrm>
            <a:custGeom>
              <a:avLst/>
              <a:gdLst/>
              <a:ahLst/>
              <a:cxnLst/>
              <a:rect l="l" t="t" r="r" b="b"/>
              <a:pathLst>
                <a:path w="635000" h="635000">
                  <a:moveTo>
                    <a:pt x="317500" y="0"/>
                  </a:moveTo>
                  <a:arcTo wR="317500" hR="317500" stAng="16200000" swAng="432000"/>
                  <a:lnTo>
                    <a:pt x="317500" y="317500"/>
                  </a:lnTo>
                  <a:close/>
                </a:path>
                <a:path w="635000" h="635000" fill="none">
                  <a:moveTo>
                    <a:pt x="357293" y="2503"/>
                  </a:moveTo>
                  <a:arcTo wR="317500" hR="317500" stAng="-4968000" swAng="211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2" name="Harvey 3/100 [3]">
              <a:extLst>
                <a:ext uri="{FF2B5EF4-FFF2-40B4-BE49-F238E27FC236}">
                  <a16:creationId xmlns:a16="http://schemas.microsoft.com/office/drawing/2014/main" id="{46A461CD-8D28-4422-AF2A-8267EFA51CAD}"/>
                </a:ext>
              </a:extLst>
            </p:cNvPr>
            <p:cNvSpPr>
              <a:spLocks noChangeAspect="1"/>
            </p:cNvSpPr>
            <p:nvPr>
              <p:custDataLst>
                <p:tags r:id="rId19"/>
              </p:custDataLst>
            </p:nvPr>
          </p:nvSpPr>
          <p:spPr>
            <a:xfrm>
              <a:off x="4334905" y="3282696"/>
              <a:ext cx="292608" cy="292608"/>
            </a:xfrm>
            <a:custGeom>
              <a:avLst/>
              <a:gdLst/>
              <a:ahLst/>
              <a:cxnLst/>
              <a:rect l="l" t="t" r="r" b="b"/>
              <a:pathLst>
                <a:path w="635000" h="635000">
                  <a:moveTo>
                    <a:pt x="317500" y="0"/>
                  </a:moveTo>
                  <a:arcTo wR="317500" hR="317500" stAng="16200000" swAng="647999"/>
                  <a:lnTo>
                    <a:pt x="317500" y="317500"/>
                  </a:lnTo>
                  <a:close/>
                </a:path>
                <a:path w="635000" h="635000" fill="none">
                  <a:moveTo>
                    <a:pt x="376993" y="5623"/>
                  </a:moveTo>
                  <a:arcTo wR="317500" hR="317500" stAng="-4752000" swAng="209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3" name="Harvey 4/100 [4]">
              <a:extLst>
                <a:ext uri="{FF2B5EF4-FFF2-40B4-BE49-F238E27FC236}">
                  <a16:creationId xmlns:a16="http://schemas.microsoft.com/office/drawing/2014/main" id="{0A337C3A-F021-437D-9E3D-FDE5AF266029}"/>
                </a:ext>
              </a:extLst>
            </p:cNvPr>
            <p:cNvSpPr>
              <a:spLocks noChangeAspect="1"/>
            </p:cNvSpPr>
            <p:nvPr>
              <p:custDataLst>
                <p:tags r:id="rId20"/>
              </p:custDataLst>
            </p:nvPr>
          </p:nvSpPr>
          <p:spPr>
            <a:xfrm>
              <a:off x="4334905" y="3282696"/>
              <a:ext cx="292608" cy="292608"/>
            </a:xfrm>
            <a:custGeom>
              <a:avLst/>
              <a:gdLst/>
              <a:ahLst/>
              <a:cxnLst/>
              <a:rect l="l" t="t" r="r" b="b"/>
              <a:pathLst>
                <a:path w="635000" h="635000">
                  <a:moveTo>
                    <a:pt x="317500" y="0"/>
                  </a:moveTo>
                  <a:arcTo wR="317500" hR="317500" stAng="16200000" swAng="864000"/>
                  <a:lnTo>
                    <a:pt x="317500" y="317500"/>
                  </a:lnTo>
                  <a:close/>
                </a:path>
                <a:path w="635000" h="635000" fill="none">
                  <a:moveTo>
                    <a:pt x="396459" y="9974"/>
                  </a:moveTo>
                  <a:arcTo wR="317500" hR="317500" stAng="-4536000" swAng="2073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5" name="Harvey 5/100 [5]">
              <a:extLst>
                <a:ext uri="{FF2B5EF4-FFF2-40B4-BE49-F238E27FC236}">
                  <a16:creationId xmlns:a16="http://schemas.microsoft.com/office/drawing/2014/main" id="{BDF66AF7-3D75-4118-B7E6-241B2C41B2C9}"/>
                </a:ext>
              </a:extLst>
            </p:cNvPr>
            <p:cNvSpPr>
              <a:spLocks noChangeAspect="1"/>
            </p:cNvSpPr>
            <p:nvPr>
              <p:custDataLst>
                <p:tags r:id="rId21"/>
              </p:custDataLst>
            </p:nvPr>
          </p:nvSpPr>
          <p:spPr>
            <a:xfrm>
              <a:off x="4334905" y="3282696"/>
              <a:ext cx="292608" cy="292608"/>
            </a:xfrm>
            <a:custGeom>
              <a:avLst/>
              <a:gdLst/>
              <a:ahLst/>
              <a:cxnLst/>
              <a:rect l="l" t="t" r="r" b="b"/>
              <a:pathLst>
                <a:path w="635000" h="635000">
                  <a:moveTo>
                    <a:pt x="317500" y="0"/>
                  </a:moveTo>
                  <a:arcTo wR="317500" hR="317500" stAng="16200000" swAng="1080000"/>
                  <a:lnTo>
                    <a:pt x="317500" y="317500"/>
                  </a:lnTo>
                  <a:close/>
                </a:path>
                <a:path w="635000" h="635000" fill="none">
                  <a:moveTo>
                    <a:pt x="415612" y="15539"/>
                  </a:moveTo>
                  <a:arcTo wR="317500" hR="317500" stAng="-4320000" swAng="2052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6" name="Harvey 6/100 [6]">
              <a:extLst>
                <a:ext uri="{FF2B5EF4-FFF2-40B4-BE49-F238E27FC236}">
                  <a16:creationId xmlns:a16="http://schemas.microsoft.com/office/drawing/2014/main" id="{E74E7438-4315-4097-9BA7-F0CE3252AC14}"/>
                </a:ext>
              </a:extLst>
            </p:cNvPr>
            <p:cNvSpPr>
              <a:spLocks noChangeAspect="1"/>
            </p:cNvSpPr>
            <p:nvPr>
              <p:custDataLst>
                <p:tags r:id="rId22"/>
              </p:custDataLst>
            </p:nvPr>
          </p:nvSpPr>
          <p:spPr>
            <a:xfrm>
              <a:off x="4334905" y="3282696"/>
              <a:ext cx="292608" cy="292608"/>
            </a:xfrm>
            <a:custGeom>
              <a:avLst/>
              <a:gdLst/>
              <a:ahLst/>
              <a:cxnLst/>
              <a:rect l="l" t="t" r="r" b="b"/>
              <a:pathLst>
                <a:path w="635000" h="635000">
                  <a:moveTo>
                    <a:pt x="317500" y="0"/>
                  </a:moveTo>
                  <a:arcTo wR="317500" hR="317500" stAng="16200000" swAng="1295999"/>
                  <a:lnTo>
                    <a:pt x="317500" y="317500"/>
                  </a:lnTo>
                  <a:close/>
                </a:path>
                <a:path w="635000" h="635000" fill="none">
                  <a:moveTo>
                    <a:pt x="434379" y="22295"/>
                  </a:moveTo>
                  <a:arcTo wR="317500" hR="317500" stAng="-4104000" swAng="2030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7" name="Harvey 7/100 [7]">
              <a:extLst>
                <a:ext uri="{FF2B5EF4-FFF2-40B4-BE49-F238E27FC236}">
                  <a16:creationId xmlns:a16="http://schemas.microsoft.com/office/drawing/2014/main" id="{FEBA4E91-97BB-4DAC-B193-66FA4828DB26}"/>
                </a:ext>
              </a:extLst>
            </p:cNvPr>
            <p:cNvSpPr>
              <a:spLocks noChangeAspect="1"/>
            </p:cNvSpPr>
            <p:nvPr>
              <p:custDataLst>
                <p:tags r:id="rId23"/>
              </p:custDataLst>
            </p:nvPr>
          </p:nvSpPr>
          <p:spPr>
            <a:xfrm>
              <a:off x="4334905" y="3282696"/>
              <a:ext cx="292608" cy="292608"/>
            </a:xfrm>
            <a:custGeom>
              <a:avLst/>
              <a:gdLst/>
              <a:ahLst/>
              <a:cxnLst/>
              <a:rect l="l" t="t" r="r" b="b"/>
              <a:pathLst>
                <a:path w="635000" h="635000">
                  <a:moveTo>
                    <a:pt x="317500" y="0"/>
                  </a:moveTo>
                  <a:arcTo wR="317500" hR="317500" stAng="16200000" swAng="1512000"/>
                  <a:lnTo>
                    <a:pt x="317500" y="317500"/>
                  </a:lnTo>
                  <a:close/>
                </a:path>
                <a:path w="635000" h="635000" fill="none">
                  <a:moveTo>
                    <a:pt x="452684" y="30217"/>
                  </a:moveTo>
                  <a:arcTo wR="317500" hR="317500" stAng="-3888000" swAng="2008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8" name="Harvey 8/100 [8]">
              <a:extLst>
                <a:ext uri="{FF2B5EF4-FFF2-40B4-BE49-F238E27FC236}">
                  <a16:creationId xmlns:a16="http://schemas.microsoft.com/office/drawing/2014/main" id="{EEB85E02-177B-40CF-B926-A4423CC7C827}"/>
                </a:ext>
              </a:extLst>
            </p:cNvPr>
            <p:cNvSpPr>
              <a:spLocks noChangeAspect="1"/>
            </p:cNvSpPr>
            <p:nvPr>
              <p:custDataLst>
                <p:tags r:id="rId24"/>
              </p:custDataLst>
            </p:nvPr>
          </p:nvSpPr>
          <p:spPr>
            <a:xfrm>
              <a:off x="4334905" y="3282696"/>
              <a:ext cx="292608" cy="292608"/>
            </a:xfrm>
            <a:custGeom>
              <a:avLst/>
              <a:gdLst/>
              <a:ahLst/>
              <a:cxnLst/>
              <a:rect l="l" t="t" r="r" b="b"/>
              <a:pathLst>
                <a:path w="635000" h="635000">
                  <a:moveTo>
                    <a:pt x="317500" y="0"/>
                  </a:moveTo>
                  <a:arcTo wR="317500" hR="317500" stAng="16200000" swAng="1728000"/>
                  <a:lnTo>
                    <a:pt x="317500" y="317500"/>
                  </a:lnTo>
                  <a:close/>
                </a:path>
                <a:path w="635000" h="635000" fill="none">
                  <a:moveTo>
                    <a:pt x="470456" y="39272"/>
                  </a:moveTo>
                  <a:arcTo wR="317500" hR="317500" stAng="-3672000" swAng="198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39" name="Harvey 9/100 [9]">
              <a:extLst>
                <a:ext uri="{FF2B5EF4-FFF2-40B4-BE49-F238E27FC236}">
                  <a16:creationId xmlns:a16="http://schemas.microsoft.com/office/drawing/2014/main" id="{C133BC7F-B0E3-404F-92D1-BB930C4F3311}"/>
                </a:ext>
              </a:extLst>
            </p:cNvPr>
            <p:cNvSpPr>
              <a:spLocks noChangeAspect="1"/>
            </p:cNvSpPr>
            <p:nvPr>
              <p:custDataLst>
                <p:tags r:id="rId25"/>
              </p:custDataLst>
            </p:nvPr>
          </p:nvSpPr>
          <p:spPr>
            <a:xfrm>
              <a:off x="4334905" y="3282696"/>
              <a:ext cx="292608" cy="292608"/>
            </a:xfrm>
            <a:custGeom>
              <a:avLst/>
              <a:gdLst/>
              <a:ahLst/>
              <a:cxnLst/>
              <a:rect l="l" t="t" r="r" b="b"/>
              <a:pathLst>
                <a:path w="635000" h="635000">
                  <a:moveTo>
                    <a:pt x="317500" y="0"/>
                  </a:moveTo>
                  <a:arcTo wR="317500" hR="317500" stAng="16200000" swAng="1944000"/>
                  <a:lnTo>
                    <a:pt x="317500" y="317500"/>
                  </a:lnTo>
                  <a:close/>
                </a:path>
                <a:path w="635000" h="635000" fill="none">
                  <a:moveTo>
                    <a:pt x="487625" y="49425"/>
                  </a:moveTo>
                  <a:arcTo wR="317500" hR="317500" stAng="-3456000" swAng="196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0" name="Harvey 10/100 [10]">
              <a:extLst>
                <a:ext uri="{FF2B5EF4-FFF2-40B4-BE49-F238E27FC236}">
                  <a16:creationId xmlns:a16="http://schemas.microsoft.com/office/drawing/2014/main" id="{F2FB72A6-CDF7-48B3-A3B8-5A5FC061802C}"/>
                </a:ext>
              </a:extLst>
            </p:cNvPr>
            <p:cNvSpPr>
              <a:spLocks noChangeAspect="1"/>
            </p:cNvSpPr>
            <p:nvPr>
              <p:custDataLst>
                <p:tags r:id="rId26"/>
              </p:custDataLst>
            </p:nvPr>
          </p:nvSpPr>
          <p:spPr>
            <a:xfrm>
              <a:off x="4334905" y="3282696"/>
              <a:ext cx="292608" cy="292608"/>
            </a:xfrm>
            <a:custGeom>
              <a:avLst/>
              <a:gdLst/>
              <a:ahLst/>
              <a:cxnLst/>
              <a:rect l="l" t="t" r="r" b="b"/>
              <a:pathLst>
                <a:path w="635000" h="635000">
                  <a:moveTo>
                    <a:pt x="317500" y="0"/>
                  </a:moveTo>
                  <a:arcTo wR="317500" hR="317500" stAng="16200000" swAng="2160000"/>
                  <a:lnTo>
                    <a:pt x="317500" y="317500"/>
                  </a:lnTo>
                  <a:close/>
                </a:path>
                <a:path w="635000" h="635000" fill="none">
                  <a:moveTo>
                    <a:pt x="504121" y="60637"/>
                  </a:moveTo>
                  <a:arcTo wR="317500" hR="317500" stAng="-3240000" swAng="194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1" name="Harvey 11/100 [11]">
              <a:extLst>
                <a:ext uri="{FF2B5EF4-FFF2-40B4-BE49-F238E27FC236}">
                  <a16:creationId xmlns:a16="http://schemas.microsoft.com/office/drawing/2014/main" id="{F3110C8B-1B18-4579-AB3F-0F4A0840CF38}"/>
                </a:ext>
              </a:extLst>
            </p:cNvPr>
            <p:cNvSpPr>
              <a:spLocks noChangeAspect="1"/>
            </p:cNvSpPr>
            <p:nvPr>
              <p:custDataLst>
                <p:tags r:id="rId27"/>
              </p:custDataLst>
            </p:nvPr>
          </p:nvSpPr>
          <p:spPr>
            <a:xfrm>
              <a:off x="4334905" y="3282696"/>
              <a:ext cx="292608" cy="292608"/>
            </a:xfrm>
            <a:custGeom>
              <a:avLst/>
              <a:gdLst/>
              <a:ahLst/>
              <a:cxnLst/>
              <a:rect l="l" t="t" r="r" b="b"/>
              <a:pathLst>
                <a:path w="635000" h="635000">
                  <a:moveTo>
                    <a:pt x="317500" y="0"/>
                  </a:moveTo>
                  <a:arcTo wR="317500" hR="317500" stAng="16200000" swAng="2376000"/>
                  <a:lnTo>
                    <a:pt x="317500" y="317500"/>
                  </a:lnTo>
                  <a:close/>
                </a:path>
                <a:path w="635000" h="635000" fill="none">
                  <a:moveTo>
                    <a:pt x="519882" y="72862"/>
                  </a:moveTo>
                  <a:arcTo wR="317500" hR="317500" stAng="-3024000" swAng="192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2" name="Harvey 12/100 [12]">
              <a:extLst>
                <a:ext uri="{FF2B5EF4-FFF2-40B4-BE49-F238E27FC236}">
                  <a16:creationId xmlns:a16="http://schemas.microsoft.com/office/drawing/2014/main" id="{84A1B722-E5AC-45F7-9498-7FF502B6FA2B}"/>
                </a:ext>
              </a:extLst>
            </p:cNvPr>
            <p:cNvSpPr>
              <a:spLocks noChangeAspect="1"/>
            </p:cNvSpPr>
            <p:nvPr>
              <p:custDataLst>
                <p:tags r:id="rId28"/>
              </p:custDataLst>
            </p:nvPr>
          </p:nvSpPr>
          <p:spPr>
            <a:xfrm>
              <a:off x="4334905" y="3282696"/>
              <a:ext cx="292608" cy="292608"/>
            </a:xfrm>
            <a:custGeom>
              <a:avLst/>
              <a:gdLst/>
              <a:ahLst/>
              <a:cxnLst/>
              <a:rect l="l" t="t" r="r" b="b"/>
              <a:pathLst>
                <a:path w="635000" h="635000">
                  <a:moveTo>
                    <a:pt x="317500" y="0"/>
                  </a:moveTo>
                  <a:arcTo wR="317500" hR="317500" stAng="16200000" swAng="2591999"/>
                  <a:lnTo>
                    <a:pt x="317500" y="317500"/>
                  </a:lnTo>
                  <a:close/>
                </a:path>
                <a:path w="635000" h="635000" fill="none">
                  <a:moveTo>
                    <a:pt x="534843" y="86052"/>
                  </a:moveTo>
                  <a:arcTo wR="317500" hR="317500" stAng="-2808000" swAng="190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3" name="Harvey 13/100 [13]">
              <a:extLst>
                <a:ext uri="{FF2B5EF4-FFF2-40B4-BE49-F238E27FC236}">
                  <a16:creationId xmlns:a16="http://schemas.microsoft.com/office/drawing/2014/main" id="{A5599F20-B957-4DF9-8B04-F2B77AAF0BDB}"/>
                </a:ext>
              </a:extLst>
            </p:cNvPr>
            <p:cNvSpPr>
              <a:spLocks noChangeAspect="1"/>
            </p:cNvSpPr>
            <p:nvPr>
              <p:custDataLst>
                <p:tags r:id="rId29"/>
              </p:custDataLst>
            </p:nvPr>
          </p:nvSpPr>
          <p:spPr>
            <a:xfrm>
              <a:off x="4334905" y="3282696"/>
              <a:ext cx="292608" cy="292608"/>
            </a:xfrm>
            <a:custGeom>
              <a:avLst/>
              <a:gdLst/>
              <a:ahLst/>
              <a:cxnLst/>
              <a:rect l="l" t="t" r="r" b="b"/>
              <a:pathLst>
                <a:path w="635000" h="635000">
                  <a:moveTo>
                    <a:pt x="317500" y="0"/>
                  </a:moveTo>
                  <a:arcTo wR="317500" hR="317500" stAng="16200000" swAng="2808000"/>
                  <a:lnTo>
                    <a:pt x="317500" y="317500"/>
                  </a:lnTo>
                  <a:close/>
                </a:path>
                <a:path w="635000" h="635000" fill="none">
                  <a:moveTo>
                    <a:pt x="548947" y="100156"/>
                  </a:moveTo>
                  <a:arcTo wR="317500" hR="317500" stAng="-2591999" swAng="1879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4" name="Harvey 14/100 [14]">
              <a:extLst>
                <a:ext uri="{FF2B5EF4-FFF2-40B4-BE49-F238E27FC236}">
                  <a16:creationId xmlns:a16="http://schemas.microsoft.com/office/drawing/2014/main" id="{F74357FC-EB3D-46C4-B56A-5007C9F4FB84}"/>
                </a:ext>
              </a:extLst>
            </p:cNvPr>
            <p:cNvSpPr>
              <a:spLocks noChangeAspect="1"/>
            </p:cNvSpPr>
            <p:nvPr>
              <p:custDataLst>
                <p:tags r:id="rId30"/>
              </p:custDataLst>
            </p:nvPr>
          </p:nvSpPr>
          <p:spPr>
            <a:xfrm>
              <a:off x="4334905" y="3282696"/>
              <a:ext cx="292608" cy="292608"/>
            </a:xfrm>
            <a:custGeom>
              <a:avLst/>
              <a:gdLst/>
              <a:ahLst/>
              <a:cxnLst/>
              <a:rect l="l" t="t" r="r" b="b"/>
              <a:pathLst>
                <a:path w="635000" h="635000">
                  <a:moveTo>
                    <a:pt x="317500" y="0"/>
                  </a:moveTo>
                  <a:arcTo wR="317500" hR="317500" stAng="16200000" swAng="3024000"/>
                  <a:lnTo>
                    <a:pt x="317500" y="317500"/>
                  </a:lnTo>
                  <a:close/>
                </a:path>
                <a:path w="635000" h="635000" fill="none">
                  <a:moveTo>
                    <a:pt x="562137" y="115117"/>
                  </a:moveTo>
                  <a:arcTo wR="317500" hR="317500" stAng="-2375999" swAng="185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5" name="Harvey 15/100 [15]">
              <a:extLst>
                <a:ext uri="{FF2B5EF4-FFF2-40B4-BE49-F238E27FC236}">
                  <a16:creationId xmlns:a16="http://schemas.microsoft.com/office/drawing/2014/main" id="{32E8E8F3-9DBC-46F4-9700-CAF071913650}"/>
                </a:ext>
              </a:extLst>
            </p:cNvPr>
            <p:cNvSpPr>
              <a:spLocks noChangeAspect="1"/>
            </p:cNvSpPr>
            <p:nvPr>
              <p:custDataLst>
                <p:tags r:id="rId31"/>
              </p:custDataLst>
            </p:nvPr>
          </p:nvSpPr>
          <p:spPr>
            <a:xfrm>
              <a:off x="4334905" y="3282696"/>
              <a:ext cx="292608" cy="292608"/>
            </a:xfrm>
            <a:custGeom>
              <a:avLst/>
              <a:gdLst/>
              <a:ahLst/>
              <a:cxnLst/>
              <a:rect l="l" t="t" r="r" b="b"/>
              <a:pathLst>
                <a:path w="635000" h="635000">
                  <a:moveTo>
                    <a:pt x="317500" y="0"/>
                  </a:moveTo>
                  <a:arcTo wR="317500" hR="317500" stAng="16200000" swAng="3240000"/>
                  <a:lnTo>
                    <a:pt x="317500" y="317500"/>
                  </a:lnTo>
                  <a:close/>
                </a:path>
                <a:path w="635000" h="635000" fill="none">
                  <a:moveTo>
                    <a:pt x="574362" y="130878"/>
                  </a:moveTo>
                  <a:arcTo wR="317500" hR="317500" stAng="-2160000" swAng="1836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6" name="Harvey 16/100 [16]">
              <a:extLst>
                <a:ext uri="{FF2B5EF4-FFF2-40B4-BE49-F238E27FC236}">
                  <a16:creationId xmlns:a16="http://schemas.microsoft.com/office/drawing/2014/main" id="{71360883-3CF3-4439-9568-E456C60454A8}"/>
                </a:ext>
              </a:extLst>
            </p:cNvPr>
            <p:cNvSpPr>
              <a:spLocks noChangeAspect="1"/>
            </p:cNvSpPr>
            <p:nvPr>
              <p:custDataLst>
                <p:tags r:id="rId32"/>
              </p:custDataLst>
            </p:nvPr>
          </p:nvSpPr>
          <p:spPr>
            <a:xfrm>
              <a:off x="4334905" y="3282696"/>
              <a:ext cx="292608" cy="292608"/>
            </a:xfrm>
            <a:custGeom>
              <a:avLst/>
              <a:gdLst/>
              <a:ahLst/>
              <a:cxnLst/>
              <a:rect l="l" t="t" r="r" b="b"/>
              <a:pathLst>
                <a:path w="635000" h="635000">
                  <a:moveTo>
                    <a:pt x="317500" y="0"/>
                  </a:moveTo>
                  <a:arcTo wR="317500" hR="317500" stAng="16200000" swAng="3456000"/>
                  <a:lnTo>
                    <a:pt x="317500" y="317500"/>
                  </a:lnTo>
                  <a:close/>
                </a:path>
                <a:path w="635000" h="635000" fill="none">
                  <a:moveTo>
                    <a:pt x="585574" y="147374"/>
                  </a:moveTo>
                  <a:arcTo wR="317500" hR="317500" stAng="-1944000" swAng="1814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7" name="Harvey 17/100 [17]">
              <a:extLst>
                <a:ext uri="{FF2B5EF4-FFF2-40B4-BE49-F238E27FC236}">
                  <a16:creationId xmlns:a16="http://schemas.microsoft.com/office/drawing/2014/main" id="{AE88FC9E-FB95-4413-AE3E-B8BF504735B5}"/>
                </a:ext>
              </a:extLst>
            </p:cNvPr>
            <p:cNvSpPr>
              <a:spLocks noChangeAspect="1"/>
            </p:cNvSpPr>
            <p:nvPr>
              <p:custDataLst>
                <p:tags r:id="rId33"/>
              </p:custDataLst>
            </p:nvPr>
          </p:nvSpPr>
          <p:spPr>
            <a:xfrm>
              <a:off x="4334905" y="3282696"/>
              <a:ext cx="292608" cy="292608"/>
            </a:xfrm>
            <a:custGeom>
              <a:avLst/>
              <a:gdLst/>
              <a:ahLst/>
              <a:cxnLst/>
              <a:rect l="l" t="t" r="r" b="b"/>
              <a:pathLst>
                <a:path w="635000" h="635000">
                  <a:moveTo>
                    <a:pt x="317500" y="0"/>
                  </a:moveTo>
                  <a:arcTo wR="317500" hR="317500" stAng="16200000" swAng="3672000"/>
                  <a:lnTo>
                    <a:pt x="317500" y="317500"/>
                  </a:lnTo>
                  <a:close/>
                </a:path>
                <a:path w="635000" h="635000" fill="none">
                  <a:moveTo>
                    <a:pt x="595727" y="164543"/>
                  </a:moveTo>
                  <a:arcTo wR="317500" hR="317500" stAng="-1727999" swAng="1792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8" name="Harvey 18/100 [18]">
              <a:extLst>
                <a:ext uri="{FF2B5EF4-FFF2-40B4-BE49-F238E27FC236}">
                  <a16:creationId xmlns:a16="http://schemas.microsoft.com/office/drawing/2014/main" id="{62593B83-E4BE-4CE8-9B0B-25AF9B7D4254}"/>
                </a:ext>
              </a:extLst>
            </p:cNvPr>
            <p:cNvSpPr>
              <a:spLocks noChangeAspect="1"/>
            </p:cNvSpPr>
            <p:nvPr>
              <p:custDataLst>
                <p:tags r:id="rId34"/>
              </p:custDataLst>
            </p:nvPr>
          </p:nvSpPr>
          <p:spPr>
            <a:xfrm>
              <a:off x="4334905" y="3282696"/>
              <a:ext cx="292608" cy="292608"/>
            </a:xfrm>
            <a:custGeom>
              <a:avLst/>
              <a:gdLst/>
              <a:ahLst/>
              <a:cxnLst/>
              <a:rect l="l" t="t" r="r" b="b"/>
              <a:pathLst>
                <a:path w="635000" h="635000">
                  <a:moveTo>
                    <a:pt x="317500" y="0"/>
                  </a:moveTo>
                  <a:arcTo wR="317500" hR="317500" stAng="16200000" swAng="3888000"/>
                  <a:lnTo>
                    <a:pt x="317500" y="317500"/>
                  </a:lnTo>
                  <a:close/>
                </a:path>
                <a:path w="635000" h="635000" fill="none">
                  <a:moveTo>
                    <a:pt x="604782" y="182315"/>
                  </a:moveTo>
                  <a:arcTo wR="317500" hR="317500" stAng="-1512000" swAng="1771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49" name="Harvey 19/100 [19]">
              <a:extLst>
                <a:ext uri="{FF2B5EF4-FFF2-40B4-BE49-F238E27FC236}">
                  <a16:creationId xmlns:a16="http://schemas.microsoft.com/office/drawing/2014/main" id="{CD41838E-0172-403D-9B68-FD51310F5400}"/>
                </a:ext>
              </a:extLst>
            </p:cNvPr>
            <p:cNvSpPr>
              <a:spLocks noChangeAspect="1"/>
            </p:cNvSpPr>
            <p:nvPr>
              <p:custDataLst>
                <p:tags r:id="rId35"/>
              </p:custDataLst>
            </p:nvPr>
          </p:nvSpPr>
          <p:spPr>
            <a:xfrm>
              <a:off x="4334905" y="3282696"/>
              <a:ext cx="292608" cy="292608"/>
            </a:xfrm>
            <a:custGeom>
              <a:avLst/>
              <a:gdLst/>
              <a:ahLst/>
              <a:cxnLst/>
              <a:rect l="l" t="t" r="r" b="b"/>
              <a:pathLst>
                <a:path w="635000" h="635000">
                  <a:moveTo>
                    <a:pt x="317500" y="0"/>
                  </a:moveTo>
                  <a:arcTo wR="317500" hR="317500" stAng="16200000" swAng="4104000"/>
                  <a:lnTo>
                    <a:pt x="317500" y="317500"/>
                  </a:lnTo>
                  <a:close/>
                </a:path>
                <a:path w="635000" h="635000" fill="none">
                  <a:moveTo>
                    <a:pt x="612704" y="200620"/>
                  </a:moveTo>
                  <a:arcTo wR="317500" hR="317500" stAng="-1295999" swAng="174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0" name="Harvey 20/100 [20]">
              <a:extLst>
                <a:ext uri="{FF2B5EF4-FFF2-40B4-BE49-F238E27FC236}">
                  <a16:creationId xmlns:a16="http://schemas.microsoft.com/office/drawing/2014/main" id="{EDE3F4CF-CB3E-40C2-B070-AC09F1E8FBD5}"/>
                </a:ext>
              </a:extLst>
            </p:cNvPr>
            <p:cNvSpPr>
              <a:spLocks noChangeAspect="1"/>
            </p:cNvSpPr>
            <p:nvPr>
              <p:custDataLst>
                <p:tags r:id="rId36"/>
              </p:custDataLst>
            </p:nvPr>
          </p:nvSpPr>
          <p:spPr>
            <a:xfrm>
              <a:off x="4334905" y="3282696"/>
              <a:ext cx="292608" cy="292608"/>
            </a:xfrm>
            <a:custGeom>
              <a:avLst/>
              <a:gdLst/>
              <a:ahLst/>
              <a:cxnLst/>
              <a:rect l="l" t="t" r="r" b="b"/>
              <a:pathLst>
                <a:path w="635000" h="635000">
                  <a:moveTo>
                    <a:pt x="317500" y="0"/>
                  </a:moveTo>
                  <a:arcTo wR="317500" hR="317500" stAng="16200000" swAng="4320000"/>
                  <a:lnTo>
                    <a:pt x="317500" y="317500"/>
                  </a:lnTo>
                  <a:close/>
                </a:path>
                <a:path w="635000" h="635000" fill="none">
                  <a:moveTo>
                    <a:pt x="619460" y="219387"/>
                  </a:moveTo>
                  <a:arcTo wR="317500" hR="317500" stAng="-1080000" swAng="172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1" name="Harvey 21/100 [21]">
              <a:extLst>
                <a:ext uri="{FF2B5EF4-FFF2-40B4-BE49-F238E27FC236}">
                  <a16:creationId xmlns:a16="http://schemas.microsoft.com/office/drawing/2014/main" id="{CD8E25E7-83D2-4F78-92A7-435281704491}"/>
                </a:ext>
              </a:extLst>
            </p:cNvPr>
            <p:cNvSpPr>
              <a:spLocks noChangeAspect="1"/>
            </p:cNvSpPr>
            <p:nvPr>
              <p:custDataLst>
                <p:tags r:id="rId37"/>
              </p:custDataLst>
            </p:nvPr>
          </p:nvSpPr>
          <p:spPr>
            <a:xfrm>
              <a:off x="4334905" y="3282696"/>
              <a:ext cx="292608" cy="292608"/>
            </a:xfrm>
            <a:custGeom>
              <a:avLst/>
              <a:gdLst/>
              <a:ahLst/>
              <a:cxnLst/>
              <a:rect l="l" t="t" r="r" b="b"/>
              <a:pathLst>
                <a:path w="635000" h="635000">
                  <a:moveTo>
                    <a:pt x="317500" y="0"/>
                  </a:moveTo>
                  <a:arcTo wR="317500" hR="317500" stAng="16200000" swAng="4536000"/>
                  <a:lnTo>
                    <a:pt x="317500" y="317500"/>
                  </a:lnTo>
                  <a:close/>
                </a:path>
                <a:path w="635000" h="635000" fill="none">
                  <a:moveTo>
                    <a:pt x="625025" y="238540"/>
                  </a:moveTo>
                  <a:arcTo wR="317500" hR="317500" stAng="-864000" swAng="170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2" name="Harvey 22/100 [22]">
              <a:extLst>
                <a:ext uri="{FF2B5EF4-FFF2-40B4-BE49-F238E27FC236}">
                  <a16:creationId xmlns:a16="http://schemas.microsoft.com/office/drawing/2014/main" id="{C6A696FB-9EFC-47F6-9860-247C48C1FC3D}"/>
                </a:ext>
              </a:extLst>
            </p:cNvPr>
            <p:cNvSpPr>
              <a:spLocks noChangeAspect="1"/>
            </p:cNvSpPr>
            <p:nvPr>
              <p:custDataLst>
                <p:tags r:id="rId38"/>
              </p:custDataLst>
            </p:nvPr>
          </p:nvSpPr>
          <p:spPr>
            <a:xfrm>
              <a:off x="4334905" y="3282696"/>
              <a:ext cx="292608" cy="292608"/>
            </a:xfrm>
            <a:custGeom>
              <a:avLst/>
              <a:gdLst/>
              <a:ahLst/>
              <a:cxnLst/>
              <a:rect l="l" t="t" r="r" b="b"/>
              <a:pathLst>
                <a:path w="635000" h="635000">
                  <a:moveTo>
                    <a:pt x="317500" y="0"/>
                  </a:moveTo>
                  <a:arcTo wR="317500" hR="317500" stAng="16200000" swAng="4752000"/>
                  <a:lnTo>
                    <a:pt x="317500" y="317500"/>
                  </a:lnTo>
                  <a:close/>
                </a:path>
                <a:path w="635000" h="635000" fill="none">
                  <a:moveTo>
                    <a:pt x="629376" y="258006"/>
                  </a:moveTo>
                  <a:arcTo wR="317500" hR="317500" stAng="-647999" swAng="168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3" name="Harvey 23/100 [23]">
              <a:extLst>
                <a:ext uri="{FF2B5EF4-FFF2-40B4-BE49-F238E27FC236}">
                  <a16:creationId xmlns:a16="http://schemas.microsoft.com/office/drawing/2014/main" id="{252958D2-EE89-4FBF-BF7B-C8AFAD704413}"/>
                </a:ext>
              </a:extLst>
            </p:cNvPr>
            <p:cNvSpPr>
              <a:spLocks noChangeAspect="1"/>
            </p:cNvSpPr>
            <p:nvPr>
              <p:custDataLst>
                <p:tags r:id="rId39"/>
              </p:custDataLst>
            </p:nvPr>
          </p:nvSpPr>
          <p:spPr>
            <a:xfrm>
              <a:off x="4334905" y="3282696"/>
              <a:ext cx="292608" cy="292608"/>
            </a:xfrm>
            <a:custGeom>
              <a:avLst/>
              <a:gdLst/>
              <a:ahLst/>
              <a:cxnLst/>
              <a:rect l="l" t="t" r="r" b="b"/>
              <a:pathLst>
                <a:path w="635000" h="635000">
                  <a:moveTo>
                    <a:pt x="317500" y="0"/>
                  </a:moveTo>
                  <a:arcTo wR="317500" hR="317500" stAng="16200000" swAng="4968000"/>
                  <a:lnTo>
                    <a:pt x="317500" y="317500"/>
                  </a:lnTo>
                  <a:close/>
                </a:path>
                <a:path w="635000" h="635000" fill="none">
                  <a:moveTo>
                    <a:pt x="632496" y="277706"/>
                  </a:moveTo>
                  <a:arcTo wR="317500" hR="317500" stAng="-432000" swAng="166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4" name="Harvey 24/100 [24]">
              <a:extLst>
                <a:ext uri="{FF2B5EF4-FFF2-40B4-BE49-F238E27FC236}">
                  <a16:creationId xmlns:a16="http://schemas.microsoft.com/office/drawing/2014/main" id="{314E82DC-04B6-406C-9D65-1115F4D2AA22}"/>
                </a:ext>
              </a:extLst>
            </p:cNvPr>
            <p:cNvSpPr>
              <a:spLocks noChangeAspect="1"/>
            </p:cNvSpPr>
            <p:nvPr>
              <p:custDataLst>
                <p:tags r:id="rId40"/>
              </p:custDataLst>
            </p:nvPr>
          </p:nvSpPr>
          <p:spPr>
            <a:xfrm>
              <a:off x="4334905" y="3282696"/>
              <a:ext cx="292608" cy="292608"/>
            </a:xfrm>
            <a:custGeom>
              <a:avLst/>
              <a:gdLst/>
              <a:ahLst/>
              <a:cxnLst/>
              <a:rect l="l" t="t" r="r" b="b"/>
              <a:pathLst>
                <a:path w="635000" h="635000">
                  <a:moveTo>
                    <a:pt x="317500" y="0"/>
                  </a:moveTo>
                  <a:arcTo wR="317500" hR="317500" stAng="16200000" swAng="5183999"/>
                  <a:lnTo>
                    <a:pt x="317500" y="317500"/>
                  </a:lnTo>
                  <a:close/>
                </a:path>
                <a:path w="635000" h="635000" fill="none">
                  <a:moveTo>
                    <a:pt x="634373" y="297564"/>
                  </a:moveTo>
                  <a:arcTo wR="317500" hR="317500" stAng="-216000" swAng="164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5" name="Harvey 25/100 [25]">
              <a:extLst>
                <a:ext uri="{FF2B5EF4-FFF2-40B4-BE49-F238E27FC236}">
                  <a16:creationId xmlns:a16="http://schemas.microsoft.com/office/drawing/2014/main" id="{669D1B60-A74F-4296-8610-F3DCDDC15022}"/>
                </a:ext>
              </a:extLst>
            </p:cNvPr>
            <p:cNvSpPr>
              <a:spLocks noChangeAspect="1"/>
            </p:cNvSpPr>
            <p:nvPr>
              <p:custDataLst>
                <p:tags r:id="rId41"/>
              </p:custDataLst>
            </p:nvPr>
          </p:nvSpPr>
          <p:spPr>
            <a:xfrm>
              <a:off x="4334905" y="3282696"/>
              <a:ext cx="292608" cy="292608"/>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6" name="Harvey 26/100 [26]">
              <a:extLst>
                <a:ext uri="{FF2B5EF4-FFF2-40B4-BE49-F238E27FC236}">
                  <a16:creationId xmlns:a16="http://schemas.microsoft.com/office/drawing/2014/main" id="{FF6DD112-04B6-4656-AB9D-1F9950FEE2D9}"/>
                </a:ext>
              </a:extLst>
            </p:cNvPr>
            <p:cNvSpPr>
              <a:spLocks noChangeAspect="1"/>
            </p:cNvSpPr>
            <p:nvPr>
              <p:custDataLst>
                <p:tags r:id="rId42"/>
              </p:custDataLst>
            </p:nvPr>
          </p:nvSpPr>
          <p:spPr>
            <a:xfrm>
              <a:off x="4334905" y="3282696"/>
              <a:ext cx="292608" cy="292608"/>
            </a:xfrm>
            <a:custGeom>
              <a:avLst/>
              <a:gdLst/>
              <a:ahLst/>
              <a:cxnLst/>
              <a:rect l="l" t="t" r="r" b="b"/>
              <a:pathLst>
                <a:path w="635000" h="635000">
                  <a:moveTo>
                    <a:pt x="317500" y="0"/>
                  </a:moveTo>
                  <a:arcTo wR="317500" hR="317500" stAng="16200000" swAng="5616000"/>
                  <a:lnTo>
                    <a:pt x="317500" y="317500"/>
                  </a:lnTo>
                  <a:close/>
                </a:path>
                <a:path w="635000" h="635000" fill="none">
                  <a:moveTo>
                    <a:pt x="634373" y="337435"/>
                  </a:moveTo>
                  <a:arcTo wR="317500" hR="317500" stAng="216000" swAng="1598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7" name="Harvey 27/100 [27]">
              <a:extLst>
                <a:ext uri="{FF2B5EF4-FFF2-40B4-BE49-F238E27FC236}">
                  <a16:creationId xmlns:a16="http://schemas.microsoft.com/office/drawing/2014/main" id="{E2928B53-FC5C-427C-AE65-9286773D84B2}"/>
                </a:ext>
              </a:extLst>
            </p:cNvPr>
            <p:cNvSpPr>
              <a:spLocks noChangeAspect="1"/>
            </p:cNvSpPr>
            <p:nvPr>
              <p:custDataLst>
                <p:tags r:id="rId43"/>
              </p:custDataLst>
            </p:nvPr>
          </p:nvSpPr>
          <p:spPr>
            <a:xfrm>
              <a:off x="4334905" y="3282696"/>
              <a:ext cx="292608" cy="292608"/>
            </a:xfrm>
            <a:custGeom>
              <a:avLst/>
              <a:gdLst/>
              <a:ahLst/>
              <a:cxnLst/>
              <a:rect l="l" t="t" r="r" b="b"/>
              <a:pathLst>
                <a:path w="635000" h="635000">
                  <a:moveTo>
                    <a:pt x="317500" y="0"/>
                  </a:moveTo>
                  <a:arcTo wR="317500" hR="317500" stAng="16200000" swAng="5832000"/>
                  <a:lnTo>
                    <a:pt x="317500" y="317500"/>
                  </a:lnTo>
                  <a:close/>
                </a:path>
                <a:path w="635000" h="635000" fill="none">
                  <a:moveTo>
                    <a:pt x="632496" y="357293"/>
                  </a:moveTo>
                  <a:arcTo wR="317500" hR="317500" stAng="432000" swAng="157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8" name="Harvey 28/100 [28]">
              <a:extLst>
                <a:ext uri="{FF2B5EF4-FFF2-40B4-BE49-F238E27FC236}">
                  <a16:creationId xmlns:a16="http://schemas.microsoft.com/office/drawing/2014/main" id="{D8CF4F20-8FEC-47FF-9B86-E818143B2C19}"/>
                </a:ext>
              </a:extLst>
            </p:cNvPr>
            <p:cNvSpPr>
              <a:spLocks noChangeAspect="1"/>
            </p:cNvSpPr>
            <p:nvPr>
              <p:custDataLst>
                <p:tags r:id="rId44"/>
              </p:custDataLst>
            </p:nvPr>
          </p:nvSpPr>
          <p:spPr>
            <a:xfrm>
              <a:off x="4334905" y="3282696"/>
              <a:ext cx="292608" cy="292608"/>
            </a:xfrm>
            <a:custGeom>
              <a:avLst/>
              <a:gdLst/>
              <a:ahLst/>
              <a:cxnLst/>
              <a:rect l="l" t="t" r="r" b="b"/>
              <a:pathLst>
                <a:path w="635000" h="635000">
                  <a:moveTo>
                    <a:pt x="317500" y="0"/>
                  </a:moveTo>
                  <a:arcTo wR="317500" hR="317500" stAng="16200000" swAng="6048000"/>
                  <a:lnTo>
                    <a:pt x="317500" y="317500"/>
                  </a:lnTo>
                  <a:close/>
                </a:path>
                <a:path w="635000" h="635000" fill="none">
                  <a:moveTo>
                    <a:pt x="629376" y="376993"/>
                  </a:moveTo>
                  <a:arcTo wR="317500" hR="317500" stAng="648000" swAng="155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59" name="Harvey 29/100 [29]">
              <a:extLst>
                <a:ext uri="{FF2B5EF4-FFF2-40B4-BE49-F238E27FC236}">
                  <a16:creationId xmlns:a16="http://schemas.microsoft.com/office/drawing/2014/main" id="{E1AF074D-4599-4D0E-8078-66303FEBDE44}"/>
                </a:ext>
              </a:extLst>
            </p:cNvPr>
            <p:cNvSpPr>
              <a:spLocks noChangeAspect="1"/>
            </p:cNvSpPr>
            <p:nvPr>
              <p:custDataLst>
                <p:tags r:id="rId45"/>
              </p:custDataLst>
            </p:nvPr>
          </p:nvSpPr>
          <p:spPr>
            <a:xfrm>
              <a:off x="4334905" y="3282696"/>
              <a:ext cx="292608" cy="292608"/>
            </a:xfrm>
            <a:custGeom>
              <a:avLst/>
              <a:gdLst/>
              <a:ahLst/>
              <a:cxnLst/>
              <a:rect l="l" t="t" r="r" b="b"/>
              <a:pathLst>
                <a:path w="635000" h="635000">
                  <a:moveTo>
                    <a:pt x="317500" y="0"/>
                  </a:moveTo>
                  <a:arcTo wR="317500" hR="317500" stAng="16200000" swAng="6263999"/>
                  <a:lnTo>
                    <a:pt x="317500" y="317500"/>
                  </a:lnTo>
                  <a:close/>
                </a:path>
                <a:path w="635000" h="635000" fill="none">
                  <a:moveTo>
                    <a:pt x="625025" y="396459"/>
                  </a:moveTo>
                  <a:arcTo wR="317500" hR="317500" stAng="863999" swAng="153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0" name="Harvey 30/100 [30]">
              <a:extLst>
                <a:ext uri="{FF2B5EF4-FFF2-40B4-BE49-F238E27FC236}">
                  <a16:creationId xmlns:a16="http://schemas.microsoft.com/office/drawing/2014/main" id="{2DF9C982-C062-4899-8A5F-20F49AD9E1B5}"/>
                </a:ext>
              </a:extLst>
            </p:cNvPr>
            <p:cNvSpPr>
              <a:spLocks noChangeAspect="1"/>
            </p:cNvSpPr>
            <p:nvPr>
              <p:custDataLst>
                <p:tags r:id="rId46"/>
              </p:custDataLst>
            </p:nvPr>
          </p:nvSpPr>
          <p:spPr>
            <a:xfrm>
              <a:off x="4334905" y="3282696"/>
              <a:ext cx="292608" cy="292608"/>
            </a:xfrm>
            <a:custGeom>
              <a:avLst/>
              <a:gdLst/>
              <a:ahLst/>
              <a:cxnLst/>
              <a:rect l="l" t="t" r="r" b="b"/>
              <a:pathLst>
                <a:path w="635000" h="635000">
                  <a:moveTo>
                    <a:pt x="317500" y="0"/>
                  </a:moveTo>
                  <a:arcTo wR="317500" hR="317500" stAng="16200000" swAng="6480000"/>
                  <a:lnTo>
                    <a:pt x="317500" y="317500"/>
                  </a:lnTo>
                  <a:close/>
                </a:path>
                <a:path w="635000" h="635000" fill="none">
                  <a:moveTo>
                    <a:pt x="619460" y="415612"/>
                  </a:moveTo>
                  <a:arcTo wR="317500" hR="317500" stAng="1080000" swAng="151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1" name="Harvey 31/100 [31]">
              <a:extLst>
                <a:ext uri="{FF2B5EF4-FFF2-40B4-BE49-F238E27FC236}">
                  <a16:creationId xmlns:a16="http://schemas.microsoft.com/office/drawing/2014/main" id="{E98CD797-9DD9-4143-9058-D1ABF95E7406}"/>
                </a:ext>
              </a:extLst>
            </p:cNvPr>
            <p:cNvSpPr>
              <a:spLocks noChangeAspect="1"/>
            </p:cNvSpPr>
            <p:nvPr>
              <p:custDataLst>
                <p:tags r:id="rId47"/>
              </p:custDataLst>
            </p:nvPr>
          </p:nvSpPr>
          <p:spPr>
            <a:xfrm>
              <a:off x="4334905" y="3282696"/>
              <a:ext cx="292608" cy="292608"/>
            </a:xfrm>
            <a:custGeom>
              <a:avLst/>
              <a:gdLst/>
              <a:ahLst/>
              <a:cxnLst/>
              <a:rect l="l" t="t" r="r" b="b"/>
              <a:pathLst>
                <a:path w="635000" h="635000">
                  <a:moveTo>
                    <a:pt x="317500" y="0"/>
                  </a:moveTo>
                  <a:arcTo wR="317500" hR="317500" stAng="16200000" swAng="6696000"/>
                  <a:lnTo>
                    <a:pt x="317500" y="317500"/>
                  </a:lnTo>
                  <a:close/>
                </a:path>
                <a:path w="635000" h="635000" fill="none">
                  <a:moveTo>
                    <a:pt x="612704" y="434379"/>
                  </a:moveTo>
                  <a:arcTo wR="317500" hR="317500" stAng="1295999" swAng="149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2" name="Harvey 32/100 [32]">
              <a:extLst>
                <a:ext uri="{FF2B5EF4-FFF2-40B4-BE49-F238E27FC236}">
                  <a16:creationId xmlns:a16="http://schemas.microsoft.com/office/drawing/2014/main" id="{39029FE4-844F-47DA-8FEF-FB68673FF10C}"/>
                </a:ext>
              </a:extLst>
            </p:cNvPr>
            <p:cNvSpPr>
              <a:spLocks noChangeAspect="1"/>
            </p:cNvSpPr>
            <p:nvPr>
              <p:custDataLst>
                <p:tags r:id="rId48"/>
              </p:custDataLst>
            </p:nvPr>
          </p:nvSpPr>
          <p:spPr>
            <a:xfrm>
              <a:off x="4334905" y="3282696"/>
              <a:ext cx="292608" cy="292608"/>
            </a:xfrm>
            <a:custGeom>
              <a:avLst/>
              <a:gdLst/>
              <a:ahLst/>
              <a:cxnLst/>
              <a:rect l="l" t="t" r="r" b="b"/>
              <a:pathLst>
                <a:path w="635000" h="635000">
                  <a:moveTo>
                    <a:pt x="317500" y="0"/>
                  </a:moveTo>
                  <a:arcTo wR="317500" hR="317500" stAng="16200000" swAng="6912000"/>
                  <a:lnTo>
                    <a:pt x="317500" y="317500"/>
                  </a:lnTo>
                  <a:close/>
                </a:path>
                <a:path w="635000" h="635000" fill="none">
                  <a:moveTo>
                    <a:pt x="604782" y="452684"/>
                  </a:moveTo>
                  <a:arcTo wR="317500" hR="317500" stAng="1512000" swAng="1468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3" name="Harvey 33/100 [33]">
              <a:extLst>
                <a:ext uri="{FF2B5EF4-FFF2-40B4-BE49-F238E27FC236}">
                  <a16:creationId xmlns:a16="http://schemas.microsoft.com/office/drawing/2014/main" id="{B99AA4D4-9C74-447B-89EF-8FD268FF95EE}"/>
                </a:ext>
              </a:extLst>
            </p:cNvPr>
            <p:cNvSpPr>
              <a:spLocks noChangeAspect="1"/>
            </p:cNvSpPr>
            <p:nvPr>
              <p:custDataLst>
                <p:tags r:id="rId49"/>
              </p:custDataLst>
            </p:nvPr>
          </p:nvSpPr>
          <p:spPr>
            <a:xfrm>
              <a:off x="4334905" y="3282696"/>
              <a:ext cx="292608" cy="292608"/>
            </a:xfrm>
            <a:custGeom>
              <a:avLst/>
              <a:gdLst/>
              <a:ahLst/>
              <a:cxnLst/>
              <a:rect l="l" t="t" r="r" b="b"/>
              <a:pathLst>
                <a:path w="635000" h="635000">
                  <a:moveTo>
                    <a:pt x="317500" y="0"/>
                  </a:moveTo>
                  <a:arcTo wR="317500" hR="317500" stAng="16200000" swAng="7128000"/>
                  <a:lnTo>
                    <a:pt x="317500" y="317500"/>
                  </a:lnTo>
                  <a:close/>
                </a:path>
                <a:path w="635000" h="635000" fill="none">
                  <a:moveTo>
                    <a:pt x="595727" y="470456"/>
                  </a:moveTo>
                  <a:arcTo wR="317500" hR="317500" stAng="1728000" swAng="144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4" name="Harvey 34/100 [34]">
              <a:extLst>
                <a:ext uri="{FF2B5EF4-FFF2-40B4-BE49-F238E27FC236}">
                  <a16:creationId xmlns:a16="http://schemas.microsoft.com/office/drawing/2014/main" id="{0880CCDE-4DDE-49A8-AFB2-FDDCE314B4D3}"/>
                </a:ext>
              </a:extLst>
            </p:cNvPr>
            <p:cNvSpPr>
              <a:spLocks noChangeAspect="1"/>
            </p:cNvSpPr>
            <p:nvPr>
              <p:custDataLst>
                <p:tags r:id="rId50"/>
              </p:custDataLst>
            </p:nvPr>
          </p:nvSpPr>
          <p:spPr>
            <a:xfrm>
              <a:off x="4334905" y="3282696"/>
              <a:ext cx="292608" cy="292608"/>
            </a:xfrm>
            <a:custGeom>
              <a:avLst/>
              <a:gdLst/>
              <a:ahLst/>
              <a:cxnLst/>
              <a:rect l="l" t="t" r="r" b="b"/>
              <a:pathLst>
                <a:path w="635000" h="635000">
                  <a:moveTo>
                    <a:pt x="317500" y="0"/>
                  </a:moveTo>
                  <a:arcTo wR="317500" hR="317500" stAng="16200000" swAng="7344000"/>
                  <a:lnTo>
                    <a:pt x="317500" y="317500"/>
                  </a:lnTo>
                  <a:close/>
                </a:path>
                <a:path w="635000" h="635000" fill="none">
                  <a:moveTo>
                    <a:pt x="585574" y="487625"/>
                  </a:moveTo>
                  <a:arcTo wR="317500" hR="317500" stAng="1944000" swAng="1425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5" name="Harvey 35/100 [35]">
              <a:extLst>
                <a:ext uri="{FF2B5EF4-FFF2-40B4-BE49-F238E27FC236}">
                  <a16:creationId xmlns:a16="http://schemas.microsoft.com/office/drawing/2014/main" id="{F37E834A-F9D8-4623-BC85-60359856CCD0}"/>
                </a:ext>
              </a:extLst>
            </p:cNvPr>
            <p:cNvSpPr>
              <a:spLocks noChangeAspect="1"/>
            </p:cNvSpPr>
            <p:nvPr>
              <p:custDataLst>
                <p:tags r:id="rId51"/>
              </p:custDataLst>
            </p:nvPr>
          </p:nvSpPr>
          <p:spPr>
            <a:xfrm>
              <a:off x="4334905" y="3282696"/>
              <a:ext cx="292608" cy="292608"/>
            </a:xfrm>
            <a:custGeom>
              <a:avLst/>
              <a:gdLst/>
              <a:ahLst/>
              <a:cxnLst/>
              <a:rect l="l" t="t" r="r" b="b"/>
              <a:pathLst>
                <a:path w="635000" h="635000">
                  <a:moveTo>
                    <a:pt x="317500" y="0"/>
                  </a:moveTo>
                  <a:arcTo wR="317500" hR="317500" stAng="16200000" swAng="7559999"/>
                  <a:lnTo>
                    <a:pt x="317500" y="317500"/>
                  </a:lnTo>
                  <a:close/>
                </a:path>
                <a:path w="635000" h="635000" fill="none">
                  <a:moveTo>
                    <a:pt x="574362" y="504121"/>
                  </a:moveTo>
                  <a:arcTo wR="317500" hR="317500" stAng="2159999" swAng="140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6" name="Harvey 36/100 [36]">
              <a:extLst>
                <a:ext uri="{FF2B5EF4-FFF2-40B4-BE49-F238E27FC236}">
                  <a16:creationId xmlns:a16="http://schemas.microsoft.com/office/drawing/2014/main" id="{15163940-B229-4368-B727-3714123C78AB}"/>
                </a:ext>
              </a:extLst>
            </p:cNvPr>
            <p:cNvSpPr>
              <a:spLocks noChangeAspect="1"/>
            </p:cNvSpPr>
            <p:nvPr>
              <p:custDataLst>
                <p:tags r:id="rId52"/>
              </p:custDataLst>
            </p:nvPr>
          </p:nvSpPr>
          <p:spPr>
            <a:xfrm>
              <a:off x="4334905" y="3282696"/>
              <a:ext cx="292608" cy="292608"/>
            </a:xfrm>
            <a:custGeom>
              <a:avLst/>
              <a:gdLst/>
              <a:ahLst/>
              <a:cxnLst/>
              <a:rect l="l" t="t" r="r" b="b"/>
              <a:pathLst>
                <a:path w="635000" h="635000">
                  <a:moveTo>
                    <a:pt x="317500" y="0"/>
                  </a:moveTo>
                  <a:arcTo wR="317500" hR="317500" stAng="16200000" swAng="7776000"/>
                  <a:lnTo>
                    <a:pt x="317500" y="317500"/>
                  </a:lnTo>
                  <a:close/>
                </a:path>
                <a:path w="635000" h="635000" fill="none">
                  <a:moveTo>
                    <a:pt x="562137" y="519882"/>
                  </a:moveTo>
                  <a:arcTo wR="317500" hR="317500" stAng="2375999" swAng="138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7" name="Harvey 37/100 [37]">
              <a:extLst>
                <a:ext uri="{FF2B5EF4-FFF2-40B4-BE49-F238E27FC236}">
                  <a16:creationId xmlns:a16="http://schemas.microsoft.com/office/drawing/2014/main" id="{64BAECDC-27C7-4333-B9D8-59DE42A1B1AA}"/>
                </a:ext>
              </a:extLst>
            </p:cNvPr>
            <p:cNvSpPr>
              <a:spLocks noChangeAspect="1"/>
            </p:cNvSpPr>
            <p:nvPr>
              <p:custDataLst>
                <p:tags r:id="rId53"/>
              </p:custDataLst>
            </p:nvPr>
          </p:nvSpPr>
          <p:spPr>
            <a:xfrm>
              <a:off x="4334905" y="3282696"/>
              <a:ext cx="292608" cy="292608"/>
            </a:xfrm>
            <a:custGeom>
              <a:avLst/>
              <a:gdLst/>
              <a:ahLst/>
              <a:cxnLst/>
              <a:rect l="l" t="t" r="r" b="b"/>
              <a:pathLst>
                <a:path w="635000" h="635000">
                  <a:moveTo>
                    <a:pt x="317500" y="0"/>
                  </a:moveTo>
                  <a:arcTo wR="317500" hR="317500" stAng="16200000" swAng="7991999"/>
                  <a:lnTo>
                    <a:pt x="317500" y="317500"/>
                  </a:lnTo>
                  <a:close/>
                </a:path>
                <a:path w="635000" h="635000" fill="none">
                  <a:moveTo>
                    <a:pt x="548947" y="534843"/>
                  </a:moveTo>
                  <a:arcTo wR="317500" hR="317500" stAng="2591999" swAng="136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8" name="Harvey 38/100 [38]">
              <a:extLst>
                <a:ext uri="{FF2B5EF4-FFF2-40B4-BE49-F238E27FC236}">
                  <a16:creationId xmlns:a16="http://schemas.microsoft.com/office/drawing/2014/main" id="{4F018A0A-A74A-4E47-BC47-203679D4F8C0}"/>
                </a:ext>
              </a:extLst>
            </p:cNvPr>
            <p:cNvSpPr>
              <a:spLocks noChangeAspect="1"/>
            </p:cNvSpPr>
            <p:nvPr>
              <p:custDataLst>
                <p:tags r:id="rId54"/>
              </p:custDataLst>
            </p:nvPr>
          </p:nvSpPr>
          <p:spPr>
            <a:xfrm>
              <a:off x="4334905" y="3282696"/>
              <a:ext cx="292608" cy="292608"/>
            </a:xfrm>
            <a:custGeom>
              <a:avLst/>
              <a:gdLst/>
              <a:ahLst/>
              <a:cxnLst/>
              <a:rect l="l" t="t" r="r" b="b"/>
              <a:pathLst>
                <a:path w="635000" h="635000">
                  <a:moveTo>
                    <a:pt x="317500" y="0"/>
                  </a:moveTo>
                  <a:arcTo wR="317500" hR="317500" stAng="16200000" swAng="8208000"/>
                  <a:lnTo>
                    <a:pt x="317500" y="317500"/>
                  </a:lnTo>
                  <a:close/>
                </a:path>
                <a:path w="635000" h="635000" fill="none">
                  <a:moveTo>
                    <a:pt x="534843" y="548947"/>
                  </a:moveTo>
                  <a:arcTo wR="317500" hR="317500" stAng="2808000" swAng="1339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69" name="Harvey 39/100 [39]">
              <a:extLst>
                <a:ext uri="{FF2B5EF4-FFF2-40B4-BE49-F238E27FC236}">
                  <a16:creationId xmlns:a16="http://schemas.microsoft.com/office/drawing/2014/main" id="{ACA75957-9FDB-46A2-82EC-77103CBEAC52}"/>
                </a:ext>
              </a:extLst>
            </p:cNvPr>
            <p:cNvSpPr>
              <a:spLocks noChangeAspect="1"/>
            </p:cNvSpPr>
            <p:nvPr>
              <p:custDataLst>
                <p:tags r:id="rId55"/>
              </p:custDataLst>
            </p:nvPr>
          </p:nvSpPr>
          <p:spPr>
            <a:xfrm>
              <a:off x="4334905" y="3282696"/>
              <a:ext cx="292608" cy="292608"/>
            </a:xfrm>
            <a:custGeom>
              <a:avLst/>
              <a:gdLst/>
              <a:ahLst/>
              <a:cxnLst/>
              <a:rect l="l" t="t" r="r" b="b"/>
              <a:pathLst>
                <a:path w="635000" h="635000">
                  <a:moveTo>
                    <a:pt x="317500" y="0"/>
                  </a:moveTo>
                  <a:arcTo wR="317500" hR="317500" stAng="16200000" swAng="8424000"/>
                  <a:lnTo>
                    <a:pt x="317500" y="317500"/>
                  </a:lnTo>
                  <a:close/>
                </a:path>
                <a:path w="635000" h="635000" fill="none">
                  <a:moveTo>
                    <a:pt x="519882" y="562137"/>
                  </a:moveTo>
                  <a:arcTo wR="317500" hR="317500" stAng="3024000" swAng="131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0" name="Harvey 40/100 [40]">
              <a:extLst>
                <a:ext uri="{FF2B5EF4-FFF2-40B4-BE49-F238E27FC236}">
                  <a16:creationId xmlns:a16="http://schemas.microsoft.com/office/drawing/2014/main" id="{025DFA7F-A073-422A-8D20-E27D1ABE4342}"/>
                </a:ext>
              </a:extLst>
            </p:cNvPr>
            <p:cNvSpPr>
              <a:spLocks noChangeAspect="1"/>
            </p:cNvSpPr>
            <p:nvPr>
              <p:custDataLst>
                <p:tags r:id="rId56"/>
              </p:custDataLst>
            </p:nvPr>
          </p:nvSpPr>
          <p:spPr>
            <a:xfrm>
              <a:off x="4334905" y="3282696"/>
              <a:ext cx="292608" cy="292608"/>
            </a:xfrm>
            <a:custGeom>
              <a:avLst/>
              <a:gdLst/>
              <a:ahLst/>
              <a:cxnLst/>
              <a:rect l="l" t="t" r="r" b="b"/>
              <a:pathLst>
                <a:path w="635000" h="635000">
                  <a:moveTo>
                    <a:pt x="317500" y="0"/>
                  </a:moveTo>
                  <a:arcTo wR="317500" hR="317500" stAng="16200000" swAng="8640000"/>
                  <a:lnTo>
                    <a:pt x="317500" y="317500"/>
                  </a:lnTo>
                  <a:close/>
                </a:path>
                <a:path w="635000" h="635000" fill="none">
                  <a:moveTo>
                    <a:pt x="504121" y="574362"/>
                  </a:moveTo>
                  <a:arcTo wR="317500" hR="317500" stAng="3240000" swAng="1296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1" name="Harvey 41/100 [41]">
              <a:extLst>
                <a:ext uri="{FF2B5EF4-FFF2-40B4-BE49-F238E27FC236}">
                  <a16:creationId xmlns:a16="http://schemas.microsoft.com/office/drawing/2014/main" id="{BF311CE9-A4CB-4965-8F0F-5B6811E9FB20}"/>
                </a:ext>
              </a:extLst>
            </p:cNvPr>
            <p:cNvSpPr>
              <a:spLocks noChangeAspect="1"/>
            </p:cNvSpPr>
            <p:nvPr>
              <p:custDataLst>
                <p:tags r:id="rId57"/>
              </p:custDataLst>
            </p:nvPr>
          </p:nvSpPr>
          <p:spPr>
            <a:xfrm>
              <a:off x="4334905" y="3282696"/>
              <a:ext cx="292608" cy="292608"/>
            </a:xfrm>
            <a:custGeom>
              <a:avLst/>
              <a:gdLst/>
              <a:ahLst/>
              <a:cxnLst/>
              <a:rect l="l" t="t" r="r" b="b"/>
              <a:pathLst>
                <a:path w="635000" h="635000">
                  <a:moveTo>
                    <a:pt x="317500" y="0"/>
                  </a:moveTo>
                  <a:arcTo wR="317500" hR="317500" stAng="16200000" swAng="8856000"/>
                  <a:lnTo>
                    <a:pt x="317500" y="317500"/>
                  </a:lnTo>
                  <a:close/>
                </a:path>
                <a:path w="635000" h="635000" fill="none">
                  <a:moveTo>
                    <a:pt x="487625" y="585574"/>
                  </a:moveTo>
                  <a:arcTo wR="317500" hR="317500" stAng="3455999" swAng="1274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2" name="Harvey 42/100 [42]">
              <a:extLst>
                <a:ext uri="{FF2B5EF4-FFF2-40B4-BE49-F238E27FC236}">
                  <a16:creationId xmlns:a16="http://schemas.microsoft.com/office/drawing/2014/main" id="{1B415A3D-1E85-4E6A-8BAB-3BB56600BA4F}"/>
                </a:ext>
              </a:extLst>
            </p:cNvPr>
            <p:cNvSpPr>
              <a:spLocks noChangeAspect="1"/>
            </p:cNvSpPr>
            <p:nvPr>
              <p:custDataLst>
                <p:tags r:id="rId58"/>
              </p:custDataLst>
            </p:nvPr>
          </p:nvSpPr>
          <p:spPr>
            <a:xfrm>
              <a:off x="4334905" y="3282696"/>
              <a:ext cx="292608" cy="292608"/>
            </a:xfrm>
            <a:custGeom>
              <a:avLst/>
              <a:gdLst/>
              <a:ahLst/>
              <a:cxnLst/>
              <a:rect l="l" t="t" r="r" b="b"/>
              <a:pathLst>
                <a:path w="635000" h="635000">
                  <a:moveTo>
                    <a:pt x="317500" y="0"/>
                  </a:moveTo>
                  <a:arcTo wR="317500" hR="317500" stAng="16200000" swAng="9072000"/>
                  <a:lnTo>
                    <a:pt x="317500" y="317500"/>
                  </a:lnTo>
                  <a:close/>
                </a:path>
                <a:path w="635000" h="635000" fill="none">
                  <a:moveTo>
                    <a:pt x="470456" y="595727"/>
                  </a:moveTo>
                  <a:arcTo wR="317500" hR="317500" stAng="3671999" swAng="1252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3" name="Harvey 43/100 [43]">
              <a:extLst>
                <a:ext uri="{FF2B5EF4-FFF2-40B4-BE49-F238E27FC236}">
                  <a16:creationId xmlns:a16="http://schemas.microsoft.com/office/drawing/2014/main" id="{7EAD6077-4487-4E7D-846D-445E65B5291C}"/>
                </a:ext>
              </a:extLst>
            </p:cNvPr>
            <p:cNvSpPr>
              <a:spLocks noChangeAspect="1"/>
            </p:cNvSpPr>
            <p:nvPr>
              <p:custDataLst>
                <p:tags r:id="rId59"/>
              </p:custDataLst>
            </p:nvPr>
          </p:nvSpPr>
          <p:spPr>
            <a:xfrm>
              <a:off x="4334905" y="3282696"/>
              <a:ext cx="292608" cy="292608"/>
            </a:xfrm>
            <a:custGeom>
              <a:avLst/>
              <a:gdLst/>
              <a:ahLst/>
              <a:cxnLst/>
              <a:rect l="l" t="t" r="r" b="b"/>
              <a:pathLst>
                <a:path w="635000" h="635000">
                  <a:moveTo>
                    <a:pt x="317500" y="0"/>
                  </a:moveTo>
                  <a:arcTo wR="317500" hR="317500" stAng="16200000" swAng="9288000"/>
                  <a:lnTo>
                    <a:pt x="317500" y="317500"/>
                  </a:lnTo>
                  <a:close/>
                </a:path>
                <a:path w="635000" h="635000" fill="none">
                  <a:moveTo>
                    <a:pt x="452684" y="604782"/>
                  </a:moveTo>
                  <a:arcTo wR="317500" hR="317500" stAng="3888000" swAng="1231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4" name="Harvey 44/100 [44]">
              <a:extLst>
                <a:ext uri="{FF2B5EF4-FFF2-40B4-BE49-F238E27FC236}">
                  <a16:creationId xmlns:a16="http://schemas.microsoft.com/office/drawing/2014/main" id="{4B57ADAF-4A83-4CB4-8920-E2B9F994E83E}"/>
                </a:ext>
              </a:extLst>
            </p:cNvPr>
            <p:cNvSpPr>
              <a:spLocks noChangeAspect="1"/>
            </p:cNvSpPr>
            <p:nvPr>
              <p:custDataLst>
                <p:tags r:id="rId60"/>
              </p:custDataLst>
            </p:nvPr>
          </p:nvSpPr>
          <p:spPr>
            <a:xfrm>
              <a:off x="4334905" y="3282696"/>
              <a:ext cx="292608" cy="292608"/>
            </a:xfrm>
            <a:custGeom>
              <a:avLst/>
              <a:gdLst/>
              <a:ahLst/>
              <a:cxnLst/>
              <a:rect l="l" t="t" r="r" b="b"/>
              <a:pathLst>
                <a:path w="635000" h="635000">
                  <a:moveTo>
                    <a:pt x="317500" y="0"/>
                  </a:moveTo>
                  <a:arcTo wR="317500" hR="317500" stAng="16200000" swAng="9504000"/>
                  <a:lnTo>
                    <a:pt x="317500" y="317500"/>
                  </a:lnTo>
                  <a:close/>
                </a:path>
                <a:path w="635000" h="635000" fill="none">
                  <a:moveTo>
                    <a:pt x="434379" y="612704"/>
                  </a:moveTo>
                  <a:arcTo wR="317500" hR="317500" stAng="4104000" swAng="120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5" name="Harvey 45/100 [45]">
              <a:extLst>
                <a:ext uri="{FF2B5EF4-FFF2-40B4-BE49-F238E27FC236}">
                  <a16:creationId xmlns:a16="http://schemas.microsoft.com/office/drawing/2014/main" id="{FF3E5416-AC43-4CBB-A32A-A966ED03106F}"/>
                </a:ext>
              </a:extLst>
            </p:cNvPr>
            <p:cNvSpPr>
              <a:spLocks noChangeAspect="1"/>
            </p:cNvSpPr>
            <p:nvPr>
              <p:custDataLst>
                <p:tags r:id="rId61"/>
              </p:custDataLst>
            </p:nvPr>
          </p:nvSpPr>
          <p:spPr>
            <a:xfrm>
              <a:off x="4334905" y="3282696"/>
              <a:ext cx="292608" cy="292608"/>
            </a:xfrm>
            <a:custGeom>
              <a:avLst/>
              <a:gdLst/>
              <a:ahLst/>
              <a:cxnLst/>
              <a:rect l="l" t="t" r="r" b="b"/>
              <a:pathLst>
                <a:path w="635000" h="635000">
                  <a:moveTo>
                    <a:pt x="317500" y="0"/>
                  </a:moveTo>
                  <a:arcTo wR="317500" hR="317500" stAng="16200000" swAng="9720000"/>
                  <a:lnTo>
                    <a:pt x="317500" y="317500"/>
                  </a:lnTo>
                  <a:close/>
                </a:path>
                <a:path w="635000" h="635000" fill="none">
                  <a:moveTo>
                    <a:pt x="415612" y="619460"/>
                  </a:moveTo>
                  <a:arcTo wR="317500" hR="317500" stAng="4320000" swAng="118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6" name="Harvey 46/100 [46]">
              <a:extLst>
                <a:ext uri="{FF2B5EF4-FFF2-40B4-BE49-F238E27FC236}">
                  <a16:creationId xmlns:a16="http://schemas.microsoft.com/office/drawing/2014/main" id="{49AFF9C1-C19A-487C-A4C1-47DA87277C3B}"/>
                </a:ext>
              </a:extLst>
            </p:cNvPr>
            <p:cNvSpPr>
              <a:spLocks noChangeAspect="1"/>
            </p:cNvSpPr>
            <p:nvPr>
              <p:custDataLst>
                <p:tags r:id="rId62"/>
              </p:custDataLst>
            </p:nvPr>
          </p:nvSpPr>
          <p:spPr>
            <a:xfrm>
              <a:off x="4334905" y="3282696"/>
              <a:ext cx="292608" cy="292608"/>
            </a:xfrm>
            <a:custGeom>
              <a:avLst/>
              <a:gdLst/>
              <a:ahLst/>
              <a:cxnLst/>
              <a:rect l="l" t="t" r="r" b="b"/>
              <a:pathLst>
                <a:path w="635000" h="635000">
                  <a:moveTo>
                    <a:pt x="317500" y="0"/>
                  </a:moveTo>
                  <a:arcTo wR="317500" hR="317500" stAng="16200000" swAng="9936000"/>
                  <a:lnTo>
                    <a:pt x="317500" y="317500"/>
                  </a:lnTo>
                  <a:close/>
                </a:path>
                <a:path w="635000" h="635000" fill="none">
                  <a:moveTo>
                    <a:pt x="396459" y="625025"/>
                  </a:moveTo>
                  <a:arcTo wR="317500" hR="317500" stAng="4536000" swAng="116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7" name="Harvey 47/100 [47]">
              <a:extLst>
                <a:ext uri="{FF2B5EF4-FFF2-40B4-BE49-F238E27FC236}">
                  <a16:creationId xmlns:a16="http://schemas.microsoft.com/office/drawing/2014/main" id="{F35AEE09-D82F-438F-9D01-96C6876241F1}"/>
                </a:ext>
              </a:extLst>
            </p:cNvPr>
            <p:cNvSpPr>
              <a:spLocks noChangeAspect="1"/>
            </p:cNvSpPr>
            <p:nvPr>
              <p:custDataLst>
                <p:tags r:id="rId63"/>
              </p:custDataLst>
            </p:nvPr>
          </p:nvSpPr>
          <p:spPr>
            <a:xfrm>
              <a:off x="4334905" y="3282696"/>
              <a:ext cx="292608" cy="292608"/>
            </a:xfrm>
            <a:custGeom>
              <a:avLst/>
              <a:gdLst/>
              <a:ahLst/>
              <a:cxnLst/>
              <a:rect l="l" t="t" r="r" b="b"/>
              <a:pathLst>
                <a:path w="635000" h="635000">
                  <a:moveTo>
                    <a:pt x="317500" y="0"/>
                  </a:moveTo>
                  <a:arcTo wR="317500" hR="317500" stAng="16200000" swAng="10152000"/>
                  <a:lnTo>
                    <a:pt x="317500" y="317500"/>
                  </a:lnTo>
                  <a:close/>
                </a:path>
                <a:path w="635000" h="635000" fill="none">
                  <a:moveTo>
                    <a:pt x="376993" y="629376"/>
                  </a:moveTo>
                  <a:arcTo wR="317500" hR="317500" stAng="4751999" swAng="114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8" name="Harvey 48/100 [48]">
              <a:extLst>
                <a:ext uri="{FF2B5EF4-FFF2-40B4-BE49-F238E27FC236}">
                  <a16:creationId xmlns:a16="http://schemas.microsoft.com/office/drawing/2014/main" id="{4FC3325B-EEB2-4420-9715-1149CEACE9AC}"/>
                </a:ext>
              </a:extLst>
            </p:cNvPr>
            <p:cNvSpPr>
              <a:spLocks noChangeAspect="1"/>
            </p:cNvSpPr>
            <p:nvPr>
              <p:custDataLst>
                <p:tags r:id="rId64"/>
              </p:custDataLst>
            </p:nvPr>
          </p:nvSpPr>
          <p:spPr>
            <a:xfrm>
              <a:off x="4334905" y="3282696"/>
              <a:ext cx="292608" cy="292608"/>
            </a:xfrm>
            <a:custGeom>
              <a:avLst/>
              <a:gdLst/>
              <a:ahLst/>
              <a:cxnLst/>
              <a:rect l="l" t="t" r="r" b="b"/>
              <a:pathLst>
                <a:path w="635000" h="635000">
                  <a:moveTo>
                    <a:pt x="317500" y="0"/>
                  </a:moveTo>
                  <a:arcTo wR="317500" hR="317500" stAng="16200000" swAng="10367999"/>
                  <a:lnTo>
                    <a:pt x="317500" y="317500"/>
                  </a:lnTo>
                  <a:close/>
                </a:path>
                <a:path w="635000" h="635000" fill="none">
                  <a:moveTo>
                    <a:pt x="357293" y="632496"/>
                  </a:moveTo>
                  <a:arcTo wR="317500" hR="317500" stAng="4967999" swAng="112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79" name="Harvey 49/100 [49]">
              <a:extLst>
                <a:ext uri="{FF2B5EF4-FFF2-40B4-BE49-F238E27FC236}">
                  <a16:creationId xmlns:a16="http://schemas.microsoft.com/office/drawing/2014/main" id="{3BE00D50-8FCE-4E11-AA24-10B621732F20}"/>
                </a:ext>
              </a:extLst>
            </p:cNvPr>
            <p:cNvSpPr>
              <a:spLocks noChangeAspect="1"/>
            </p:cNvSpPr>
            <p:nvPr>
              <p:custDataLst>
                <p:tags r:id="rId65"/>
              </p:custDataLst>
            </p:nvPr>
          </p:nvSpPr>
          <p:spPr>
            <a:xfrm>
              <a:off x="4334905" y="3282696"/>
              <a:ext cx="292608" cy="292608"/>
            </a:xfrm>
            <a:custGeom>
              <a:avLst/>
              <a:gdLst/>
              <a:ahLst/>
              <a:cxnLst/>
              <a:rect l="l" t="t" r="r" b="b"/>
              <a:pathLst>
                <a:path w="635000" h="635000">
                  <a:moveTo>
                    <a:pt x="317500" y="0"/>
                  </a:moveTo>
                  <a:arcTo wR="317500" hR="317500" stAng="16200000" swAng="10584000"/>
                  <a:lnTo>
                    <a:pt x="317500" y="317500"/>
                  </a:lnTo>
                  <a:close/>
                </a:path>
                <a:path w="635000" h="635000" fill="none">
                  <a:moveTo>
                    <a:pt x="337435" y="634373"/>
                  </a:moveTo>
                  <a:arcTo wR="317500" hR="317500" stAng="5184000" swAng="110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0" name="Harvey 50/100 [50]">
              <a:extLst>
                <a:ext uri="{FF2B5EF4-FFF2-40B4-BE49-F238E27FC236}">
                  <a16:creationId xmlns:a16="http://schemas.microsoft.com/office/drawing/2014/main" id="{97083993-8BFD-443F-A3A3-D28EF389CE2B}"/>
                </a:ext>
              </a:extLst>
            </p:cNvPr>
            <p:cNvSpPr>
              <a:spLocks noChangeAspect="1"/>
            </p:cNvSpPr>
            <p:nvPr>
              <p:custDataLst>
                <p:tags r:id="rId66"/>
              </p:custDataLst>
            </p:nvPr>
          </p:nvSpPr>
          <p:spPr>
            <a:xfrm>
              <a:off x="4334905" y="3282696"/>
              <a:ext cx="292608" cy="292608"/>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1" name="Harvey 51/100 [51]">
              <a:extLst>
                <a:ext uri="{FF2B5EF4-FFF2-40B4-BE49-F238E27FC236}">
                  <a16:creationId xmlns:a16="http://schemas.microsoft.com/office/drawing/2014/main" id="{BDE38762-18E9-47FF-895E-325F5976ECAA}"/>
                </a:ext>
              </a:extLst>
            </p:cNvPr>
            <p:cNvSpPr>
              <a:spLocks noChangeAspect="1"/>
            </p:cNvSpPr>
            <p:nvPr>
              <p:custDataLst>
                <p:tags r:id="rId67"/>
              </p:custDataLst>
            </p:nvPr>
          </p:nvSpPr>
          <p:spPr>
            <a:xfrm>
              <a:off x="4334905" y="3282696"/>
              <a:ext cx="292608" cy="292608"/>
            </a:xfrm>
            <a:custGeom>
              <a:avLst/>
              <a:gdLst/>
              <a:ahLst/>
              <a:cxnLst/>
              <a:rect l="l" t="t" r="r" b="b"/>
              <a:pathLst>
                <a:path w="635000" h="635000">
                  <a:moveTo>
                    <a:pt x="317500" y="0"/>
                  </a:moveTo>
                  <a:arcTo wR="317500" hR="317500" stAng="16200000" swAng="11016000"/>
                  <a:lnTo>
                    <a:pt x="317500" y="317500"/>
                  </a:lnTo>
                  <a:close/>
                </a:path>
                <a:path w="635000" h="635000" fill="none">
                  <a:moveTo>
                    <a:pt x="297564" y="634373"/>
                  </a:moveTo>
                  <a:arcTo wR="317500" hR="317500" stAng="5616000" swAng="1058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2" name="Harvey 52/100 [52]">
              <a:extLst>
                <a:ext uri="{FF2B5EF4-FFF2-40B4-BE49-F238E27FC236}">
                  <a16:creationId xmlns:a16="http://schemas.microsoft.com/office/drawing/2014/main" id="{785EAA21-FBCD-46DC-8430-7AB12F5A66AF}"/>
                </a:ext>
              </a:extLst>
            </p:cNvPr>
            <p:cNvSpPr>
              <a:spLocks noChangeAspect="1"/>
            </p:cNvSpPr>
            <p:nvPr>
              <p:custDataLst>
                <p:tags r:id="rId68"/>
              </p:custDataLst>
            </p:nvPr>
          </p:nvSpPr>
          <p:spPr>
            <a:xfrm>
              <a:off x="4334905" y="3282696"/>
              <a:ext cx="292608" cy="292608"/>
            </a:xfrm>
            <a:custGeom>
              <a:avLst/>
              <a:gdLst/>
              <a:ahLst/>
              <a:cxnLst/>
              <a:rect l="l" t="t" r="r" b="b"/>
              <a:pathLst>
                <a:path w="635000" h="635000">
                  <a:moveTo>
                    <a:pt x="317500" y="0"/>
                  </a:moveTo>
                  <a:arcTo wR="317500" hR="317500" stAng="16200000" swAng="11232000"/>
                  <a:lnTo>
                    <a:pt x="317500" y="317500"/>
                  </a:lnTo>
                  <a:close/>
                </a:path>
                <a:path w="635000" h="635000" fill="none">
                  <a:moveTo>
                    <a:pt x="277706" y="632496"/>
                  </a:moveTo>
                  <a:arcTo wR="317500" hR="317500" stAng="5832000" swAng="1036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3" name="Harvey 53/100 [53]">
              <a:extLst>
                <a:ext uri="{FF2B5EF4-FFF2-40B4-BE49-F238E27FC236}">
                  <a16:creationId xmlns:a16="http://schemas.microsoft.com/office/drawing/2014/main" id="{858D54BA-F4A5-4C67-830E-E85FF6EE735D}"/>
                </a:ext>
              </a:extLst>
            </p:cNvPr>
            <p:cNvSpPr>
              <a:spLocks noChangeAspect="1"/>
            </p:cNvSpPr>
            <p:nvPr>
              <p:custDataLst>
                <p:tags r:id="rId69"/>
              </p:custDataLst>
            </p:nvPr>
          </p:nvSpPr>
          <p:spPr>
            <a:xfrm>
              <a:off x="4334905" y="3282696"/>
              <a:ext cx="292608" cy="292608"/>
            </a:xfrm>
            <a:custGeom>
              <a:avLst/>
              <a:gdLst/>
              <a:ahLst/>
              <a:cxnLst/>
              <a:rect l="l" t="t" r="r" b="b"/>
              <a:pathLst>
                <a:path w="635000" h="635000">
                  <a:moveTo>
                    <a:pt x="317500" y="0"/>
                  </a:moveTo>
                  <a:arcTo wR="317500" hR="317500" stAng="16200000" swAng="11448000"/>
                  <a:lnTo>
                    <a:pt x="317500" y="317500"/>
                  </a:lnTo>
                  <a:close/>
                </a:path>
                <a:path w="635000" h="635000" fill="none">
                  <a:moveTo>
                    <a:pt x="258006" y="629376"/>
                  </a:moveTo>
                  <a:arcTo wR="317500" hR="317500" stAng="6048000" swAng="1015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4" name="Harvey 54/100 [54]">
              <a:extLst>
                <a:ext uri="{FF2B5EF4-FFF2-40B4-BE49-F238E27FC236}">
                  <a16:creationId xmlns:a16="http://schemas.microsoft.com/office/drawing/2014/main" id="{AC41BD7B-E1FA-4AED-B11C-E03936A672E6}"/>
                </a:ext>
              </a:extLst>
            </p:cNvPr>
            <p:cNvSpPr>
              <a:spLocks noChangeAspect="1"/>
            </p:cNvSpPr>
            <p:nvPr>
              <p:custDataLst>
                <p:tags r:id="rId70"/>
              </p:custDataLst>
            </p:nvPr>
          </p:nvSpPr>
          <p:spPr>
            <a:xfrm>
              <a:off x="4334905" y="3282696"/>
              <a:ext cx="292608" cy="292608"/>
            </a:xfrm>
            <a:custGeom>
              <a:avLst/>
              <a:gdLst/>
              <a:ahLst/>
              <a:cxnLst/>
              <a:rect l="l" t="t" r="r" b="b"/>
              <a:pathLst>
                <a:path w="635000" h="635000">
                  <a:moveTo>
                    <a:pt x="317500" y="0"/>
                  </a:moveTo>
                  <a:arcTo wR="317500" hR="317500" stAng="16200000" swAng="11664000"/>
                  <a:lnTo>
                    <a:pt x="317500" y="317500"/>
                  </a:lnTo>
                  <a:close/>
                </a:path>
                <a:path w="635000" h="635000" fill="none">
                  <a:moveTo>
                    <a:pt x="238540" y="625025"/>
                  </a:moveTo>
                  <a:arcTo wR="317500" hR="317500" stAng="6264000" swAng="99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5" name="Harvey 55/100 [55]">
              <a:extLst>
                <a:ext uri="{FF2B5EF4-FFF2-40B4-BE49-F238E27FC236}">
                  <a16:creationId xmlns:a16="http://schemas.microsoft.com/office/drawing/2014/main" id="{BAF901A0-5FD1-4B29-9AF9-DB8B19412429}"/>
                </a:ext>
              </a:extLst>
            </p:cNvPr>
            <p:cNvSpPr>
              <a:spLocks noChangeAspect="1"/>
            </p:cNvSpPr>
            <p:nvPr>
              <p:custDataLst>
                <p:tags r:id="rId71"/>
              </p:custDataLst>
            </p:nvPr>
          </p:nvSpPr>
          <p:spPr>
            <a:xfrm>
              <a:off x="4334905" y="3282696"/>
              <a:ext cx="292608" cy="292608"/>
            </a:xfrm>
            <a:custGeom>
              <a:avLst/>
              <a:gdLst/>
              <a:ahLst/>
              <a:cxnLst/>
              <a:rect l="l" t="t" r="r" b="b"/>
              <a:pathLst>
                <a:path w="635000" h="635000">
                  <a:moveTo>
                    <a:pt x="317500" y="0"/>
                  </a:moveTo>
                  <a:arcTo wR="317500" hR="317500" stAng="16200000" swAng="11880000"/>
                  <a:lnTo>
                    <a:pt x="317500" y="317500"/>
                  </a:lnTo>
                  <a:close/>
                </a:path>
                <a:path w="635000" h="635000" fill="none">
                  <a:moveTo>
                    <a:pt x="219387" y="619460"/>
                  </a:moveTo>
                  <a:arcTo wR="317500" hR="317500" stAng="6480000" swAng="97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6" name="Harvey 56/100 [56]">
              <a:extLst>
                <a:ext uri="{FF2B5EF4-FFF2-40B4-BE49-F238E27FC236}">
                  <a16:creationId xmlns:a16="http://schemas.microsoft.com/office/drawing/2014/main" id="{3EFF555D-6B7F-481F-ADC2-746953BA7F97}"/>
                </a:ext>
              </a:extLst>
            </p:cNvPr>
            <p:cNvSpPr>
              <a:spLocks noChangeAspect="1"/>
            </p:cNvSpPr>
            <p:nvPr>
              <p:custDataLst>
                <p:tags r:id="rId72"/>
              </p:custDataLst>
            </p:nvPr>
          </p:nvSpPr>
          <p:spPr>
            <a:xfrm>
              <a:off x="4334905" y="3282696"/>
              <a:ext cx="292608" cy="292608"/>
            </a:xfrm>
            <a:custGeom>
              <a:avLst/>
              <a:gdLst/>
              <a:ahLst/>
              <a:cxnLst/>
              <a:rect l="l" t="t" r="r" b="b"/>
              <a:pathLst>
                <a:path w="635000" h="635000">
                  <a:moveTo>
                    <a:pt x="317500" y="0"/>
                  </a:moveTo>
                  <a:arcTo wR="317500" hR="317500" stAng="16200000" swAng="12096000"/>
                  <a:lnTo>
                    <a:pt x="317500" y="317500"/>
                  </a:lnTo>
                  <a:close/>
                </a:path>
                <a:path w="635000" h="635000" fill="none">
                  <a:moveTo>
                    <a:pt x="200620" y="612704"/>
                  </a:moveTo>
                  <a:arcTo wR="317500" hR="317500" stAng="6696000" swAng="95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7" name="Harvey 57/100 [57]">
              <a:extLst>
                <a:ext uri="{FF2B5EF4-FFF2-40B4-BE49-F238E27FC236}">
                  <a16:creationId xmlns:a16="http://schemas.microsoft.com/office/drawing/2014/main" id="{A4D3BE31-8C07-4912-AB8B-8331A665C238}"/>
                </a:ext>
              </a:extLst>
            </p:cNvPr>
            <p:cNvSpPr>
              <a:spLocks noChangeAspect="1"/>
            </p:cNvSpPr>
            <p:nvPr>
              <p:custDataLst>
                <p:tags r:id="rId73"/>
              </p:custDataLst>
            </p:nvPr>
          </p:nvSpPr>
          <p:spPr>
            <a:xfrm>
              <a:off x="4334905" y="3282696"/>
              <a:ext cx="292608" cy="292608"/>
            </a:xfrm>
            <a:custGeom>
              <a:avLst/>
              <a:gdLst/>
              <a:ahLst/>
              <a:cxnLst/>
              <a:rect l="l" t="t" r="r" b="b"/>
              <a:pathLst>
                <a:path w="635000" h="635000">
                  <a:moveTo>
                    <a:pt x="317500" y="0"/>
                  </a:moveTo>
                  <a:arcTo wR="317500" hR="317500" stAng="16200000" swAng="12312000"/>
                  <a:lnTo>
                    <a:pt x="317500" y="317500"/>
                  </a:lnTo>
                  <a:close/>
                </a:path>
                <a:path w="635000" h="635000" fill="none">
                  <a:moveTo>
                    <a:pt x="182315" y="604782"/>
                  </a:moveTo>
                  <a:arcTo wR="317500" hR="317500" stAng="6911999" swAng="928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8" name="Harvey 58/100 [58]">
              <a:extLst>
                <a:ext uri="{FF2B5EF4-FFF2-40B4-BE49-F238E27FC236}">
                  <a16:creationId xmlns:a16="http://schemas.microsoft.com/office/drawing/2014/main" id="{E7B5A5D9-6DD2-4B0A-9557-7A7AF774103E}"/>
                </a:ext>
              </a:extLst>
            </p:cNvPr>
            <p:cNvSpPr>
              <a:spLocks noChangeAspect="1"/>
            </p:cNvSpPr>
            <p:nvPr>
              <p:custDataLst>
                <p:tags r:id="rId74"/>
              </p:custDataLst>
            </p:nvPr>
          </p:nvSpPr>
          <p:spPr>
            <a:xfrm>
              <a:off x="4334905" y="3282696"/>
              <a:ext cx="292608" cy="292608"/>
            </a:xfrm>
            <a:custGeom>
              <a:avLst/>
              <a:gdLst/>
              <a:ahLst/>
              <a:cxnLst/>
              <a:rect l="l" t="t" r="r" b="b"/>
              <a:pathLst>
                <a:path w="635000" h="635000">
                  <a:moveTo>
                    <a:pt x="317500" y="0"/>
                  </a:moveTo>
                  <a:arcTo wR="317500" hR="317500" stAng="16200000" swAng="12527999"/>
                  <a:lnTo>
                    <a:pt x="317500" y="317500"/>
                  </a:lnTo>
                  <a:close/>
                </a:path>
                <a:path w="635000" h="635000" fill="none">
                  <a:moveTo>
                    <a:pt x="164543" y="595727"/>
                  </a:moveTo>
                  <a:arcTo wR="317500" hR="317500" stAng="7127999" swAng="90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89" name="Harvey 59/100 [59]">
              <a:extLst>
                <a:ext uri="{FF2B5EF4-FFF2-40B4-BE49-F238E27FC236}">
                  <a16:creationId xmlns:a16="http://schemas.microsoft.com/office/drawing/2014/main" id="{88458C0E-D234-4C86-A6CC-B8CD6C445F00}"/>
                </a:ext>
              </a:extLst>
            </p:cNvPr>
            <p:cNvSpPr>
              <a:spLocks noChangeAspect="1"/>
            </p:cNvSpPr>
            <p:nvPr>
              <p:custDataLst>
                <p:tags r:id="rId75"/>
              </p:custDataLst>
            </p:nvPr>
          </p:nvSpPr>
          <p:spPr>
            <a:xfrm>
              <a:off x="4334905" y="3282696"/>
              <a:ext cx="292608" cy="292608"/>
            </a:xfrm>
            <a:custGeom>
              <a:avLst/>
              <a:gdLst/>
              <a:ahLst/>
              <a:cxnLst/>
              <a:rect l="l" t="t" r="r" b="b"/>
              <a:pathLst>
                <a:path w="635000" h="635000">
                  <a:moveTo>
                    <a:pt x="317500" y="0"/>
                  </a:moveTo>
                  <a:arcTo wR="317500" hR="317500" stAng="16200000" swAng="12743999"/>
                  <a:lnTo>
                    <a:pt x="317500" y="317500"/>
                  </a:lnTo>
                  <a:close/>
                </a:path>
                <a:path w="635000" h="635000" fill="none">
                  <a:moveTo>
                    <a:pt x="147374" y="585574"/>
                  </a:moveTo>
                  <a:arcTo wR="317500" hR="317500" stAng="7343999" swAng="88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0" name="Harvey 60/100 [60]">
              <a:extLst>
                <a:ext uri="{FF2B5EF4-FFF2-40B4-BE49-F238E27FC236}">
                  <a16:creationId xmlns:a16="http://schemas.microsoft.com/office/drawing/2014/main" id="{0924D2C6-D224-49FD-A4B8-312AFD605E78}"/>
                </a:ext>
              </a:extLst>
            </p:cNvPr>
            <p:cNvSpPr>
              <a:spLocks noChangeAspect="1"/>
            </p:cNvSpPr>
            <p:nvPr>
              <p:custDataLst>
                <p:tags r:id="rId76"/>
              </p:custDataLst>
            </p:nvPr>
          </p:nvSpPr>
          <p:spPr>
            <a:xfrm>
              <a:off x="4334905" y="3282696"/>
              <a:ext cx="292608" cy="292608"/>
            </a:xfrm>
            <a:custGeom>
              <a:avLst/>
              <a:gdLst/>
              <a:ahLst/>
              <a:cxnLst/>
              <a:rect l="l" t="t" r="r" b="b"/>
              <a:pathLst>
                <a:path w="635000" h="635000">
                  <a:moveTo>
                    <a:pt x="317500" y="0"/>
                  </a:moveTo>
                  <a:arcTo wR="317500" hR="317500" stAng="16200000" swAng="12960000"/>
                  <a:lnTo>
                    <a:pt x="317500" y="317500"/>
                  </a:lnTo>
                  <a:close/>
                </a:path>
                <a:path w="635000" h="635000" fill="none">
                  <a:moveTo>
                    <a:pt x="130878" y="574362"/>
                  </a:moveTo>
                  <a:arcTo wR="317500" hR="317500" stAng="7560000" swAng="86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1" name="Harvey 61/100 [61]">
              <a:extLst>
                <a:ext uri="{FF2B5EF4-FFF2-40B4-BE49-F238E27FC236}">
                  <a16:creationId xmlns:a16="http://schemas.microsoft.com/office/drawing/2014/main" id="{F9FB23C2-D568-49AC-B8FD-0480EB019739}"/>
                </a:ext>
              </a:extLst>
            </p:cNvPr>
            <p:cNvSpPr>
              <a:spLocks noChangeAspect="1"/>
            </p:cNvSpPr>
            <p:nvPr>
              <p:custDataLst>
                <p:tags r:id="rId77"/>
              </p:custDataLst>
            </p:nvPr>
          </p:nvSpPr>
          <p:spPr>
            <a:xfrm>
              <a:off x="4334905" y="3282696"/>
              <a:ext cx="292608" cy="292608"/>
            </a:xfrm>
            <a:custGeom>
              <a:avLst/>
              <a:gdLst/>
              <a:ahLst/>
              <a:cxnLst/>
              <a:rect l="l" t="t" r="r" b="b"/>
              <a:pathLst>
                <a:path w="635000" h="635000">
                  <a:moveTo>
                    <a:pt x="317500" y="0"/>
                  </a:moveTo>
                  <a:arcTo wR="317500" hR="317500" stAng="16200000" swAng="13176000"/>
                  <a:lnTo>
                    <a:pt x="317500" y="317500"/>
                  </a:lnTo>
                  <a:close/>
                </a:path>
                <a:path w="635000" h="635000" fill="none">
                  <a:moveTo>
                    <a:pt x="115117" y="562137"/>
                  </a:moveTo>
                  <a:arcTo wR="317500" hR="317500" stAng="7776000" swAng="84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2" name="Harvey 62/100 [62]">
              <a:extLst>
                <a:ext uri="{FF2B5EF4-FFF2-40B4-BE49-F238E27FC236}">
                  <a16:creationId xmlns:a16="http://schemas.microsoft.com/office/drawing/2014/main" id="{9EF3159D-F4FB-4032-BCCB-55E6ED5EEFC7}"/>
                </a:ext>
              </a:extLst>
            </p:cNvPr>
            <p:cNvSpPr>
              <a:spLocks noChangeAspect="1"/>
            </p:cNvSpPr>
            <p:nvPr>
              <p:custDataLst>
                <p:tags r:id="rId78"/>
              </p:custDataLst>
            </p:nvPr>
          </p:nvSpPr>
          <p:spPr>
            <a:xfrm>
              <a:off x="4334905" y="3282696"/>
              <a:ext cx="292608" cy="292608"/>
            </a:xfrm>
            <a:custGeom>
              <a:avLst/>
              <a:gdLst/>
              <a:ahLst/>
              <a:cxnLst/>
              <a:rect l="l" t="t" r="r" b="b"/>
              <a:pathLst>
                <a:path w="635000" h="635000">
                  <a:moveTo>
                    <a:pt x="317500" y="0"/>
                  </a:moveTo>
                  <a:arcTo wR="317500" hR="317500" stAng="16200000" swAng="13392000"/>
                  <a:lnTo>
                    <a:pt x="317500" y="317500"/>
                  </a:lnTo>
                  <a:close/>
                </a:path>
                <a:path w="635000" h="635000" fill="none">
                  <a:moveTo>
                    <a:pt x="100156" y="548947"/>
                  </a:moveTo>
                  <a:arcTo wR="317500" hR="317500" stAng="7991999" swAng="82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3" name="Harvey 63/100 [63]">
              <a:extLst>
                <a:ext uri="{FF2B5EF4-FFF2-40B4-BE49-F238E27FC236}">
                  <a16:creationId xmlns:a16="http://schemas.microsoft.com/office/drawing/2014/main" id="{9362C8EA-6D15-4E0C-8AE9-B1B50EB297B8}"/>
                </a:ext>
              </a:extLst>
            </p:cNvPr>
            <p:cNvSpPr>
              <a:spLocks noChangeAspect="1"/>
            </p:cNvSpPr>
            <p:nvPr>
              <p:custDataLst>
                <p:tags r:id="rId79"/>
              </p:custDataLst>
            </p:nvPr>
          </p:nvSpPr>
          <p:spPr>
            <a:xfrm>
              <a:off x="4334905" y="3282696"/>
              <a:ext cx="292608" cy="292608"/>
            </a:xfrm>
            <a:custGeom>
              <a:avLst/>
              <a:gdLst/>
              <a:ahLst/>
              <a:cxnLst/>
              <a:rect l="l" t="t" r="r" b="b"/>
              <a:pathLst>
                <a:path w="635000" h="635000">
                  <a:moveTo>
                    <a:pt x="317500" y="0"/>
                  </a:moveTo>
                  <a:arcTo wR="317500" hR="317500" stAng="16200000" swAng="13608000"/>
                  <a:lnTo>
                    <a:pt x="317500" y="317500"/>
                  </a:lnTo>
                  <a:close/>
                </a:path>
                <a:path w="635000" h="635000" fill="none">
                  <a:moveTo>
                    <a:pt x="86052" y="534843"/>
                  </a:moveTo>
                  <a:arcTo wR="317500" hR="317500" stAng="8208000" swAng="799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4" name="Harvey 64/100 [64]">
              <a:extLst>
                <a:ext uri="{FF2B5EF4-FFF2-40B4-BE49-F238E27FC236}">
                  <a16:creationId xmlns:a16="http://schemas.microsoft.com/office/drawing/2014/main" id="{91EB375D-1444-4BE3-A696-66272A1564CD}"/>
                </a:ext>
              </a:extLst>
            </p:cNvPr>
            <p:cNvSpPr>
              <a:spLocks noChangeAspect="1"/>
            </p:cNvSpPr>
            <p:nvPr>
              <p:custDataLst>
                <p:tags r:id="rId80"/>
              </p:custDataLst>
            </p:nvPr>
          </p:nvSpPr>
          <p:spPr>
            <a:xfrm>
              <a:off x="4334905" y="3282696"/>
              <a:ext cx="292608" cy="292608"/>
            </a:xfrm>
            <a:custGeom>
              <a:avLst/>
              <a:gdLst/>
              <a:ahLst/>
              <a:cxnLst/>
              <a:rect l="l" t="t" r="r" b="b"/>
              <a:pathLst>
                <a:path w="635000" h="635000">
                  <a:moveTo>
                    <a:pt x="317500" y="0"/>
                  </a:moveTo>
                  <a:arcTo wR="317500" hR="317500" stAng="16200000" swAng="13824000"/>
                  <a:lnTo>
                    <a:pt x="317500" y="317500"/>
                  </a:lnTo>
                  <a:close/>
                </a:path>
                <a:path w="635000" h="635000" fill="none">
                  <a:moveTo>
                    <a:pt x="72862" y="519882"/>
                  </a:moveTo>
                  <a:arcTo wR="317500" hR="317500" stAng="8424000" swAng="777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5" name="Harvey 65/100 [65]">
              <a:extLst>
                <a:ext uri="{FF2B5EF4-FFF2-40B4-BE49-F238E27FC236}">
                  <a16:creationId xmlns:a16="http://schemas.microsoft.com/office/drawing/2014/main" id="{9A3002B1-5D17-4BCB-9A44-B2FB4025D02F}"/>
                </a:ext>
              </a:extLst>
            </p:cNvPr>
            <p:cNvSpPr>
              <a:spLocks noChangeAspect="1"/>
            </p:cNvSpPr>
            <p:nvPr>
              <p:custDataLst>
                <p:tags r:id="rId81"/>
              </p:custDataLst>
            </p:nvPr>
          </p:nvSpPr>
          <p:spPr>
            <a:xfrm>
              <a:off x="4334905" y="3282696"/>
              <a:ext cx="292608" cy="292608"/>
            </a:xfrm>
            <a:custGeom>
              <a:avLst/>
              <a:gdLst/>
              <a:ahLst/>
              <a:cxnLst/>
              <a:rect l="l" t="t" r="r" b="b"/>
              <a:pathLst>
                <a:path w="635000" h="635000">
                  <a:moveTo>
                    <a:pt x="317500" y="0"/>
                  </a:moveTo>
                  <a:arcTo wR="317500" hR="317500" stAng="16200000" swAng="14040000"/>
                  <a:lnTo>
                    <a:pt x="317500" y="317500"/>
                  </a:lnTo>
                  <a:close/>
                </a:path>
                <a:path w="635000" h="635000" fill="none">
                  <a:moveTo>
                    <a:pt x="60637" y="504121"/>
                  </a:moveTo>
                  <a:arcTo wR="317500" hR="317500" stAng="8640000" swAng="755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6" name="Harvey 66/100 [66]">
              <a:extLst>
                <a:ext uri="{FF2B5EF4-FFF2-40B4-BE49-F238E27FC236}">
                  <a16:creationId xmlns:a16="http://schemas.microsoft.com/office/drawing/2014/main" id="{E5F2FDE4-04B2-4A45-A685-14E0C51883A5}"/>
                </a:ext>
              </a:extLst>
            </p:cNvPr>
            <p:cNvSpPr>
              <a:spLocks noChangeAspect="1"/>
            </p:cNvSpPr>
            <p:nvPr>
              <p:custDataLst>
                <p:tags r:id="rId82"/>
              </p:custDataLst>
            </p:nvPr>
          </p:nvSpPr>
          <p:spPr>
            <a:xfrm>
              <a:off x="4334905" y="3282696"/>
              <a:ext cx="292608" cy="292608"/>
            </a:xfrm>
            <a:custGeom>
              <a:avLst/>
              <a:gdLst/>
              <a:ahLst/>
              <a:cxnLst/>
              <a:rect l="l" t="t" r="r" b="b"/>
              <a:pathLst>
                <a:path w="635000" h="635000">
                  <a:moveTo>
                    <a:pt x="317500" y="0"/>
                  </a:moveTo>
                  <a:arcTo wR="317500" hR="317500" stAng="16200000" swAng="14256000"/>
                  <a:lnTo>
                    <a:pt x="317500" y="317500"/>
                  </a:lnTo>
                  <a:close/>
                </a:path>
                <a:path w="635000" h="635000" fill="none">
                  <a:moveTo>
                    <a:pt x="49425" y="487625"/>
                  </a:moveTo>
                  <a:arcTo wR="317500" hR="317500" stAng="8856000" swAng="734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7" name="Harvey 67/100 [67]">
              <a:extLst>
                <a:ext uri="{FF2B5EF4-FFF2-40B4-BE49-F238E27FC236}">
                  <a16:creationId xmlns:a16="http://schemas.microsoft.com/office/drawing/2014/main" id="{D399A169-3845-4CD5-A62C-F4586F1FAFE8}"/>
                </a:ext>
              </a:extLst>
            </p:cNvPr>
            <p:cNvSpPr>
              <a:spLocks noChangeAspect="1"/>
            </p:cNvSpPr>
            <p:nvPr>
              <p:custDataLst>
                <p:tags r:id="rId83"/>
              </p:custDataLst>
            </p:nvPr>
          </p:nvSpPr>
          <p:spPr>
            <a:xfrm>
              <a:off x="4334905" y="3282696"/>
              <a:ext cx="292608" cy="292608"/>
            </a:xfrm>
            <a:custGeom>
              <a:avLst/>
              <a:gdLst/>
              <a:ahLst/>
              <a:cxnLst/>
              <a:rect l="l" t="t" r="r" b="b"/>
              <a:pathLst>
                <a:path w="635000" h="635000">
                  <a:moveTo>
                    <a:pt x="317500" y="0"/>
                  </a:moveTo>
                  <a:arcTo wR="317500" hR="317500" stAng="16200000" swAng="14472000"/>
                  <a:lnTo>
                    <a:pt x="317500" y="317500"/>
                  </a:lnTo>
                  <a:close/>
                </a:path>
                <a:path w="635000" h="635000" fill="none">
                  <a:moveTo>
                    <a:pt x="39272" y="470456"/>
                  </a:moveTo>
                  <a:arcTo wR="317500" hR="317500" stAng="9072000" swAng="712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8" name="Harvey 68/100 [68]">
              <a:extLst>
                <a:ext uri="{FF2B5EF4-FFF2-40B4-BE49-F238E27FC236}">
                  <a16:creationId xmlns:a16="http://schemas.microsoft.com/office/drawing/2014/main" id="{E12F5173-9960-47F5-9A91-B043294E14CB}"/>
                </a:ext>
              </a:extLst>
            </p:cNvPr>
            <p:cNvSpPr>
              <a:spLocks noChangeAspect="1"/>
            </p:cNvSpPr>
            <p:nvPr>
              <p:custDataLst>
                <p:tags r:id="rId84"/>
              </p:custDataLst>
            </p:nvPr>
          </p:nvSpPr>
          <p:spPr>
            <a:xfrm>
              <a:off x="4334905" y="3282696"/>
              <a:ext cx="292608" cy="292608"/>
            </a:xfrm>
            <a:custGeom>
              <a:avLst/>
              <a:gdLst/>
              <a:ahLst/>
              <a:cxnLst/>
              <a:rect l="l" t="t" r="r" b="b"/>
              <a:pathLst>
                <a:path w="635000" h="635000">
                  <a:moveTo>
                    <a:pt x="317500" y="0"/>
                  </a:moveTo>
                  <a:arcTo wR="317500" hR="317500" stAng="16200000" swAng="14688000"/>
                  <a:lnTo>
                    <a:pt x="317500" y="317500"/>
                  </a:lnTo>
                  <a:close/>
                </a:path>
                <a:path w="635000" h="635000" fill="none">
                  <a:moveTo>
                    <a:pt x="30217" y="452684"/>
                  </a:moveTo>
                  <a:arcTo wR="317500" hR="317500" stAng="9288000" swAng="691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99" name="Harvey 69/100 [69]">
              <a:extLst>
                <a:ext uri="{FF2B5EF4-FFF2-40B4-BE49-F238E27FC236}">
                  <a16:creationId xmlns:a16="http://schemas.microsoft.com/office/drawing/2014/main" id="{DD9B9229-3D3A-4706-BEEC-04C19A30C5C3}"/>
                </a:ext>
              </a:extLst>
            </p:cNvPr>
            <p:cNvSpPr>
              <a:spLocks noChangeAspect="1"/>
            </p:cNvSpPr>
            <p:nvPr>
              <p:custDataLst>
                <p:tags r:id="rId85"/>
              </p:custDataLst>
            </p:nvPr>
          </p:nvSpPr>
          <p:spPr>
            <a:xfrm>
              <a:off x="4334905" y="3282696"/>
              <a:ext cx="292608" cy="292608"/>
            </a:xfrm>
            <a:custGeom>
              <a:avLst/>
              <a:gdLst/>
              <a:ahLst/>
              <a:cxnLst/>
              <a:rect l="l" t="t" r="r" b="b"/>
              <a:pathLst>
                <a:path w="635000" h="635000">
                  <a:moveTo>
                    <a:pt x="317500" y="0"/>
                  </a:moveTo>
                  <a:arcTo wR="317500" hR="317500" stAng="16200000" swAng="14903999"/>
                  <a:lnTo>
                    <a:pt x="317500" y="317500"/>
                  </a:lnTo>
                  <a:close/>
                </a:path>
                <a:path w="635000" h="635000" fill="none">
                  <a:moveTo>
                    <a:pt x="22295" y="434379"/>
                  </a:moveTo>
                  <a:arcTo wR="317500" hR="317500" stAng="9503999" swAng="66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0" name="Harvey 70/100 [70]">
              <a:extLst>
                <a:ext uri="{FF2B5EF4-FFF2-40B4-BE49-F238E27FC236}">
                  <a16:creationId xmlns:a16="http://schemas.microsoft.com/office/drawing/2014/main" id="{795A4CC8-0C08-491C-8D7F-95EC8E0E25B8}"/>
                </a:ext>
              </a:extLst>
            </p:cNvPr>
            <p:cNvSpPr>
              <a:spLocks noChangeAspect="1"/>
            </p:cNvSpPr>
            <p:nvPr>
              <p:custDataLst>
                <p:tags r:id="rId86"/>
              </p:custDataLst>
            </p:nvPr>
          </p:nvSpPr>
          <p:spPr>
            <a:xfrm>
              <a:off x="4334905" y="3282696"/>
              <a:ext cx="292608" cy="292608"/>
            </a:xfrm>
            <a:custGeom>
              <a:avLst/>
              <a:gdLst/>
              <a:ahLst/>
              <a:cxnLst/>
              <a:rect l="l" t="t" r="r" b="b"/>
              <a:pathLst>
                <a:path w="635000" h="635000">
                  <a:moveTo>
                    <a:pt x="317500" y="0"/>
                  </a:moveTo>
                  <a:arcTo wR="317500" hR="317500" stAng="16200000" swAng="15119999"/>
                  <a:lnTo>
                    <a:pt x="317500" y="317500"/>
                  </a:lnTo>
                  <a:close/>
                </a:path>
                <a:path w="635000" h="635000" fill="none">
                  <a:moveTo>
                    <a:pt x="15539" y="415612"/>
                  </a:moveTo>
                  <a:arcTo wR="317500" hR="317500" stAng="9719999" swAng="64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1" name="Harvey 71/100 [71]">
              <a:extLst>
                <a:ext uri="{FF2B5EF4-FFF2-40B4-BE49-F238E27FC236}">
                  <a16:creationId xmlns:a16="http://schemas.microsoft.com/office/drawing/2014/main" id="{91862A76-5FCC-4C25-9A3F-A10651AC7725}"/>
                </a:ext>
              </a:extLst>
            </p:cNvPr>
            <p:cNvSpPr>
              <a:spLocks noChangeAspect="1"/>
            </p:cNvSpPr>
            <p:nvPr>
              <p:custDataLst>
                <p:tags r:id="rId87"/>
              </p:custDataLst>
            </p:nvPr>
          </p:nvSpPr>
          <p:spPr>
            <a:xfrm>
              <a:off x="4334905" y="3282696"/>
              <a:ext cx="292608" cy="292608"/>
            </a:xfrm>
            <a:custGeom>
              <a:avLst/>
              <a:gdLst/>
              <a:ahLst/>
              <a:cxnLst/>
              <a:rect l="l" t="t" r="r" b="b"/>
              <a:pathLst>
                <a:path w="635000" h="635000">
                  <a:moveTo>
                    <a:pt x="317500" y="0"/>
                  </a:moveTo>
                  <a:arcTo wR="317500" hR="317500" stAng="16200000" swAng="15336000"/>
                  <a:lnTo>
                    <a:pt x="317500" y="317500"/>
                  </a:lnTo>
                  <a:close/>
                </a:path>
                <a:path w="635000" h="635000" fill="none">
                  <a:moveTo>
                    <a:pt x="9974" y="396459"/>
                  </a:moveTo>
                  <a:arcTo wR="317500" hR="317500" stAng="9936000" swAng="62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2" name="Harvey 72/100 [72]">
              <a:extLst>
                <a:ext uri="{FF2B5EF4-FFF2-40B4-BE49-F238E27FC236}">
                  <a16:creationId xmlns:a16="http://schemas.microsoft.com/office/drawing/2014/main" id="{46969644-17D9-45C9-A88A-9A88622DCE45}"/>
                </a:ext>
              </a:extLst>
            </p:cNvPr>
            <p:cNvSpPr>
              <a:spLocks noChangeAspect="1"/>
            </p:cNvSpPr>
            <p:nvPr>
              <p:custDataLst>
                <p:tags r:id="rId88"/>
              </p:custDataLst>
            </p:nvPr>
          </p:nvSpPr>
          <p:spPr>
            <a:xfrm>
              <a:off x="4334905" y="3282696"/>
              <a:ext cx="292608" cy="292608"/>
            </a:xfrm>
            <a:custGeom>
              <a:avLst/>
              <a:gdLst/>
              <a:ahLst/>
              <a:cxnLst/>
              <a:rect l="l" t="t" r="r" b="b"/>
              <a:pathLst>
                <a:path w="635000" h="635000">
                  <a:moveTo>
                    <a:pt x="317500" y="0"/>
                  </a:moveTo>
                  <a:arcTo wR="317500" hR="317500" stAng="16200000" swAng="15552000"/>
                  <a:lnTo>
                    <a:pt x="317500" y="317500"/>
                  </a:lnTo>
                  <a:close/>
                </a:path>
                <a:path w="635000" h="635000" fill="none">
                  <a:moveTo>
                    <a:pt x="5623" y="376993"/>
                  </a:moveTo>
                  <a:arcTo wR="317500" hR="317500" stAng="10152000" swAng="60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3" name="Harvey 73/100 [73]">
              <a:extLst>
                <a:ext uri="{FF2B5EF4-FFF2-40B4-BE49-F238E27FC236}">
                  <a16:creationId xmlns:a16="http://schemas.microsoft.com/office/drawing/2014/main" id="{F89621F9-3ABB-450D-913E-7B467F289A9B}"/>
                </a:ext>
              </a:extLst>
            </p:cNvPr>
            <p:cNvSpPr>
              <a:spLocks noChangeAspect="1"/>
            </p:cNvSpPr>
            <p:nvPr>
              <p:custDataLst>
                <p:tags r:id="rId89"/>
              </p:custDataLst>
            </p:nvPr>
          </p:nvSpPr>
          <p:spPr>
            <a:xfrm>
              <a:off x="4334905" y="3282696"/>
              <a:ext cx="292608" cy="292608"/>
            </a:xfrm>
            <a:custGeom>
              <a:avLst/>
              <a:gdLst/>
              <a:ahLst/>
              <a:cxnLst/>
              <a:rect l="l" t="t" r="r" b="b"/>
              <a:pathLst>
                <a:path w="635000" h="635000">
                  <a:moveTo>
                    <a:pt x="317500" y="0"/>
                  </a:moveTo>
                  <a:arcTo wR="317500" hR="317500" stAng="16200000" swAng="15768000"/>
                  <a:lnTo>
                    <a:pt x="317500" y="317500"/>
                  </a:lnTo>
                  <a:close/>
                </a:path>
                <a:path w="635000" h="635000" fill="none">
                  <a:moveTo>
                    <a:pt x="2503" y="357293"/>
                  </a:moveTo>
                  <a:arcTo wR="317500" hR="317500" stAng="10368000" swAng="58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4" name="Harvey 74/100 [74]">
              <a:extLst>
                <a:ext uri="{FF2B5EF4-FFF2-40B4-BE49-F238E27FC236}">
                  <a16:creationId xmlns:a16="http://schemas.microsoft.com/office/drawing/2014/main" id="{89EE4B1F-E703-471D-8307-BFB9EDEDB9F7}"/>
                </a:ext>
              </a:extLst>
            </p:cNvPr>
            <p:cNvSpPr>
              <a:spLocks noChangeAspect="1"/>
            </p:cNvSpPr>
            <p:nvPr>
              <p:custDataLst>
                <p:tags r:id="rId90"/>
              </p:custDataLst>
            </p:nvPr>
          </p:nvSpPr>
          <p:spPr>
            <a:xfrm>
              <a:off x="4334905" y="3282696"/>
              <a:ext cx="292608" cy="292608"/>
            </a:xfrm>
            <a:custGeom>
              <a:avLst/>
              <a:gdLst/>
              <a:ahLst/>
              <a:cxnLst/>
              <a:rect l="l" t="t" r="r" b="b"/>
              <a:pathLst>
                <a:path w="635000" h="635000">
                  <a:moveTo>
                    <a:pt x="317500" y="0"/>
                  </a:moveTo>
                  <a:arcTo wR="317500" hR="317500" stAng="16200000" swAng="15983999"/>
                  <a:lnTo>
                    <a:pt x="317500" y="317500"/>
                  </a:lnTo>
                  <a:close/>
                </a:path>
                <a:path w="635000" h="635000" fill="none">
                  <a:moveTo>
                    <a:pt x="626" y="337435"/>
                  </a:moveTo>
                  <a:arcTo wR="317500" hR="317500" stAng="10583999" swAng="56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5" name="Harvey 75/100 [75]">
              <a:extLst>
                <a:ext uri="{FF2B5EF4-FFF2-40B4-BE49-F238E27FC236}">
                  <a16:creationId xmlns:a16="http://schemas.microsoft.com/office/drawing/2014/main" id="{8AB2EEA8-04AC-4B6C-8D90-28093DB647E6}"/>
                </a:ext>
              </a:extLst>
            </p:cNvPr>
            <p:cNvSpPr>
              <a:spLocks noChangeAspect="1"/>
            </p:cNvSpPr>
            <p:nvPr>
              <p:custDataLst>
                <p:tags r:id="rId91"/>
              </p:custDataLst>
            </p:nvPr>
          </p:nvSpPr>
          <p:spPr>
            <a:xfrm>
              <a:off x="4334905" y="3282696"/>
              <a:ext cx="292608" cy="292608"/>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6" name="Harvey 76/100 [76]">
              <a:extLst>
                <a:ext uri="{FF2B5EF4-FFF2-40B4-BE49-F238E27FC236}">
                  <a16:creationId xmlns:a16="http://schemas.microsoft.com/office/drawing/2014/main" id="{6F4E00F2-EA6F-4809-B2FD-4CE3ABE8C480}"/>
                </a:ext>
              </a:extLst>
            </p:cNvPr>
            <p:cNvSpPr>
              <a:spLocks noChangeAspect="1"/>
            </p:cNvSpPr>
            <p:nvPr>
              <p:custDataLst>
                <p:tags r:id="rId92"/>
              </p:custDataLst>
            </p:nvPr>
          </p:nvSpPr>
          <p:spPr>
            <a:xfrm>
              <a:off x="4334905" y="3282696"/>
              <a:ext cx="292608" cy="292608"/>
            </a:xfrm>
            <a:custGeom>
              <a:avLst/>
              <a:gdLst/>
              <a:ahLst/>
              <a:cxnLst/>
              <a:rect l="l" t="t" r="r" b="b"/>
              <a:pathLst>
                <a:path w="635000" h="635000">
                  <a:moveTo>
                    <a:pt x="317500" y="0"/>
                  </a:moveTo>
                  <a:arcTo wR="317500" hR="317500" stAng="16200000" swAng="16416000"/>
                  <a:lnTo>
                    <a:pt x="317500" y="317500"/>
                  </a:lnTo>
                  <a:close/>
                </a:path>
                <a:path w="635000" h="635000" fill="none">
                  <a:moveTo>
                    <a:pt x="626" y="297564"/>
                  </a:moveTo>
                  <a:arcTo wR="317500" hR="317500" stAng="11016000" swAng="518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7" name="Harvey 77/100 [77]">
              <a:extLst>
                <a:ext uri="{FF2B5EF4-FFF2-40B4-BE49-F238E27FC236}">
                  <a16:creationId xmlns:a16="http://schemas.microsoft.com/office/drawing/2014/main" id="{CF5CA593-7B87-4492-9B35-2255514CB496}"/>
                </a:ext>
              </a:extLst>
            </p:cNvPr>
            <p:cNvSpPr>
              <a:spLocks noChangeAspect="1"/>
            </p:cNvSpPr>
            <p:nvPr>
              <p:custDataLst>
                <p:tags r:id="rId93"/>
              </p:custDataLst>
            </p:nvPr>
          </p:nvSpPr>
          <p:spPr>
            <a:xfrm>
              <a:off x="4334905" y="3282696"/>
              <a:ext cx="292608" cy="292608"/>
            </a:xfrm>
            <a:custGeom>
              <a:avLst/>
              <a:gdLst/>
              <a:ahLst/>
              <a:cxnLst/>
              <a:rect l="l" t="t" r="r" b="b"/>
              <a:pathLst>
                <a:path w="635000" h="635000">
                  <a:moveTo>
                    <a:pt x="317500" y="0"/>
                  </a:moveTo>
                  <a:arcTo wR="317500" hR="317500" stAng="16200000" swAng="16632000"/>
                  <a:lnTo>
                    <a:pt x="317500" y="317500"/>
                  </a:lnTo>
                  <a:close/>
                </a:path>
                <a:path w="635000" h="635000" fill="none">
                  <a:moveTo>
                    <a:pt x="2503" y="277706"/>
                  </a:moveTo>
                  <a:arcTo wR="317500" hR="317500" stAng="11232000" swAng="496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8" name="Harvey 78/100 [78]">
              <a:extLst>
                <a:ext uri="{FF2B5EF4-FFF2-40B4-BE49-F238E27FC236}">
                  <a16:creationId xmlns:a16="http://schemas.microsoft.com/office/drawing/2014/main" id="{8C036464-458E-48D4-BAC8-84819F820C60}"/>
                </a:ext>
              </a:extLst>
            </p:cNvPr>
            <p:cNvSpPr>
              <a:spLocks noChangeAspect="1"/>
            </p:cNvSpPr>
            <p:nvPr>
              <p:custDataLst>
                <p:tags r:id="rId94"/>
              </p:custDataLst>
            </p:nvPr>
          </p:nvSpPr>
          <p:spPr>
            <a:xfrm>
              <a:off x="4334905" y="3282696"/>
              <a:ext cx="292608" cy="292608"/>
            </a:xfrm>
            <a:custGeom>
              <a:avLst/>
              <a:gdLst/>
              <a:ahLst/>
              <a:cxnLst/>
              <a:rect l="l" t="t" r="r" b="b"/>
              <a:pathLst>
                <a:path w="635000" h="635000">
                  <a:moveTo>
                    <a:pt x="317500" y="0"/>
                  </a:moveTo>
                  <a:arcTo wR="317500" hR="317500" stAng="16200000" swAng="16848000"/>
                  <a:lnTo>
                    <a:pt x="317500" y="317500"/>
                  </a:lnTo>
                  <a:close/>
                </a:path>
                <a:path w="635000" h="635000" fill="none">
                  <a:moveTo>
                    <a:pt x="5623" y="258006"/>
                  </a:moveTo>
                  <a:arcTo wR="317500" hR="317500" stAng="11448000" swAng="475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09" name="Harvey 79/100 [79]">
              <a:extLst>
                <a:ext uri="{FF2B5EF4-FFF2-40B4-BE49-F238E27FC236}">
                  <a16:creationId xmlns:a16="http://schemas.microsoft.com/office/drawing/2014/main" id="{6FD5AC00-8293-447C-B728-B963DD67B1C2}"/>
                </a:ext>
              </a:extLst>
            </p:cNvPr>
            <p:cNvSpPr>
              <a:spLocks noChangeAspect="1"/>
            </p:cNvSpPr>
            <p:nvPr>
              <p:custDataLst>
                <p:tags r:id="rId95"/>
              </p:custDataLst>
            </p:nvPr>
          </p:nvSpPr>
          <p:spPr>
            <a:xfrm>
              <a:off x="4334905" y="3282696"/>
              <a:ext cx="292608" cy="292608"/>
            </a:xfrm>
            <a:custGeom>
              <a:avLst/>
              <a:gdLst/>
              <a:ahLst/>
              <a:cxnLst/>
              <a:rect l="l" t="t" r="r" b="b"/>
              <a:pathLst>
                <a:path w="635000" h="635000">
                  <a:moveTo>
                    <a:pt x="317500" y="0"/>
                  </a:moveTo>
                  <a:arcTo wR="317500" hR="317500" stAng="16200000" swAng="17064000"/>
                  <a:lnTo>
                    <a:pt x="317500" y="317500"/>
                  </a:lnTo>
                  <a:close/>
                </a:path>
                <a:path w="635000" h="635000" fill="none">
                  <a:moveTo>
                    <a:pt x="9974" y="238540"/>
                  </a:moveTo>
                  <a:arcTo wR="317500" hR="317500" stAng="11664000" swAng="453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0" name="Harvey 80/100 [80]">
              <a:extLst>
                <a:ext uri="{FF2B5EF4-FFF2-40B4-BE49-F238E27FC236}">
                  <a16:creationId xmlns:a16="http://schemas.microsoft.com/office/drawing/2014/main" id="{29C0F859-BC49-430F-8C59-C0B9109E47A3}"/>
                </a:ext>
              </a:extLst>
            </p:cNvPr>
            <p:cNvSpPr>
              <a:spLocks noChangeAspect="1"/>
            </p:cNvSpPr>
            <p:nvPr>
              <p:custDataLst>
                <p:tags r:id="rId96"/>
              </p:custDataLst>
            </p:nvPr>
          </p:nvSpPr>
          <p:spPr>
            <a:xfrm>
              <a:off x="4334905" y="3282696"/>
              <a:ext cx="292608" cy="292608"/>
            </a:xfrm>
            <a:custGeom>
              <a:avLst/>
              <a:gdLst/>
              <a:ahLst/>
              <a:cxnLst/>
              <a:rect l="l" t="t" r="r" b="b"/>
              <a:pathLst>
                <a:path w="635000" h="635000">
                  <a:moveTo>
                    <a:pt x="317500" y="0"/>
                  </a:moveTo>
                  <a:arcTo wR="317500" hR="317500" stAng="16200000" swAng="17280000"/>
                  <a:lnTo>
                    <a:pt x="317500" y="317500"/>
                  </a:lnTo>
                  <a:close/>
                </a:path>
                <a:path w="635000" h="635000" fill="none">
                  <a:moveTo>
                    <a:pt x="15539" y="219387"/>
                  </a:moveTo>
                  <a:arcTo wR="317500" hR="317500" stAng="11880000" swAng="431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1" name="Harvey 81/100 [81]">
              <a:extLst>
                <a:ext uri="{FF2B5EF4-FFF2-40B4-BE49-F238E27FC236}">
                  <a16:creationId xmlns:a16="http://schemas.microsoft.com/office/drawing/2014/main" id="{F78719E3-0417-4867-B70D-21538B3AC36E}"/>
                </a:ext>
              </a:extLst>
            </p:cNvPr>
            <p:cNvSpPr>
              <a:spLocks noChangeAspect="1"/>
            </p:cNvSpPr>
            <p:nvPr>
              <p:custDataLst>
                <p:tags r:id="rId97"/>
              </p:custDataLst>
            </p:nvPr>
          </p:nvSpPr>
          <p:spPr>
            <a:xfrm>
              <a:off x="4334905" y="3282696"/>
              <a:ext cx="292608" cy="292608"/>
            </a:xfrm>
            <a:custGeom>
              <a:avLst/>
              <a:gdLst/>
              <a:ahLst/>
              <a:cxnLst/>
              <a:rect l="l" t="t" r="r" b="b"/>
              <a:pathLst>
                <a:path w="635000" h="635000">
                  <a:moveTo>
                    <a:pt x="317500" y="0"/>
                  </a:moveTo>
                  <a:arcTo wR="317500" hR="317500" stAng="16200000" swAng="17496000"/>
                  <a:lnTo>
                    <a:pt x="317500" y="317500"/>
                  </a:lnTo>
                  <a:close/>
                </a:path>
                <a:path w="635000" h="635000" fill="none">
                  <a:moveTo>
                    <a:pt x="22295" y="200620"/>
                  </a:moveTo>
                  <a:arcTo wR="317500" hR="317500" stAng="12096000" swAng="410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2" name="Harvey 82/100 [82]">
              <a:extLst>
                <a:ext uri="{FF2B5EF4-FFF2-40B4-BE49-F238E27FC236}">
                  <a16:creationId xmlns:a16="http://schemas.microsoft.com/office/drawing/2014/main" id="{9C5D0905-7412-4C75-BC20-E51105CA783D}"/>
                </a:ext>
              </a:extLst>
            </p:cNvPr>
            <p:cNvSpPr>
              <a:spLocks noChangeAspect="1"/>
            </p:cNvSpPr>
            <p:nvPr>
              <p:custDataLst>
                <p:tags r:id="rId98"/>
              </p:custDataLst>
            </p:nvPr>
          </p:nvSpPr>
          <p:spPr>
            <a:xfrm>
              <a:off x="4334905" y="3282696"/>
              <a:ext cx="292608" cy="292608"/>
            </a:xfrm>
            <a:custGeom>
              <a:avLst/>
              <a:gdLst/>
              <a:ahLst/>
              <a:cxnLst/>
              <a:rect l="l" t="t" r="r" b="b"/>
              <a:pathLst>
                <a:path w="635000" h="635000">
                  <a:moveTo>
                    <a:pt x="317500" y="0"/>
                  </a:moveTo>
                  <a:arcTo wR="317500" hR="317500" stAng="16200000" swAng="17712000"/>
                  <a:lnTo>
                    <a:pt x="317500" y="317500"/>
                  </a:lnTo>
                  <a:close/>
                </a:path>
                <a:path w="635000" h="635000" fill="none">
                  <a:moveTo>
                    <a:pt x="30217" y="182315"/>
                  </a:moveTo>
                  <a:arcTo wR="317500" hR="317500" stAng="12312000" swAng="388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3" name="Harvey 83/100 [83]">
              <a:extLst>
                <a:ext uri="{FF2B5EF4-FFF2-40B4-BE49-F238E27FC236}">
                  <a16:creationId xmlns:a16="http://schemas.microsoft.com/office/drawing/2014/main" id="{96AA2E20-CC65-4632-B3D4-93E962B59D4C}"/>
                </a:ext>
              </a:extLst>
            </p:cNvPr>
            <p:cNvSpPr>
              <a:spLocks noChangeAspect="1"/>
            </p:cNvSpPr>
            <p:nvPr>
              <p:custDataLst>
                <p:tags r:id="rId99"/>
              </p:custDataLst>
            </p:nvPr>
          </p:nvSpPr>
          <p:spPr>
            <a:xfrm>
              <a:off x="4334905" y="3282696"/>
              <a:ext cx="292608" cy="292608"/>
            </a:xfrm>
            <a:custGeom>
              <a:avLst/>
              <a:gdLst/>
              <a:ahLst/>
              <a:cxnLst/>
              <a:rect l="l" t="t" r="r" b="b"/>
              <a:pathLst>
                <a:path w="635000" h="635000">
                  <a:moveTo>
                    <a:pt x="317500" y="0"/>
                  </a:moveTo>
                  <a:arcTo wR="317500" hR="317500" stAng="16200000" swAng="17928000"/>
                  <a:lnTo>
                    <a:pt x="317500" y="317500"/>
                  </a:lnTo>
                  <a:close/>
                </a:path>
                <a:path w="635000" h="635000" fill="none">
                  <a:moveTo>
                    <a:pt x="39272" y="164543"/>
                  </a:moveTo>
                  <a:arcTo wR="317500" hR="317500" stAng="12528000" swAng="367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4" name="Harvey 84/100 [84]">
              <a:extLst>
                <a:ext uri="{FF2B5EF4-FFF2-40B4-BE49-F238E27FC236}">
                  <a16:creationId xmlns:a16="http://schemas.microsoft.com/office/drawing/2014/main" id="{9B4360A3-E0B2-48F7-B5A8-D24513748A82}"/>
                </a:ext>
              </a:extLst>
            </p:cNvPr>
            <p:cNvSpPr>
              <a:spLocks noChangeAspect="1"/>
            </p:cNvSpPr>
            <p:nvPr>
              <p:custDataLst>
                <p:tags r:id="rId100"/>
              </p:custDataLst>
            </p:nvPr>
          </p:nvSpPr>
          <p:spPr>
            <a:xfrm>
              <a:off x="4334905" y="3282696"/>
              <a:ext cx="292608" cy="292608"/>
            </a:xfrm>
            <a:custGeom>
              <a:avLst/>
              <a:gdLst/>
              <a:ahLst/>
              <a:cxnLst/>
              <a:rect l="l" t="t" r="r" b="b"/>
              <a:pathLst>
                <a:path w="635000" h="635000">
                  <a:moveTo>
                    <a:pt x="317500" y="0"/>
                  </a:moveTo>
                  <a:arcTo wR="317500" hR="317500" stAng="16200000" swAng="18144000"/>
                  <a:lnTo>
                    <a:pt x="317500" y="317500"/>
                  </a:lnTo>
                  <a:close/>
                </a:path>
                <a:path w="635000" h="635000" fill="none">
                  <a:moveTo>
                    <a:pt x="49425" y="147374"/>
                  </a:moveTo>
                  <a:arcTo wR="317500" hR="317500" stAng="12743999" swAng="345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5" name="Harvey 85/100 [85]">
              <a:extLst>
                <a:ext uri="{FF2B5EF4-FFF2-40B4-BE49-F238E27FC236}">
                  <a16:creationId xmlns:a16="http://schemas.microsoft.com/office/drawing/2014/main" id="{D694B21E-EEA0-48FA-A35C-7B6570B3F861}"/>
                </a:ext>
              </a:extLst>
            </p:cNvPr>
            <p:cNvSpPr>
              <a:spLocks noChangeAspect="1"/>
            </p:cNvSpPr>
            <p:nvPr>
              <p:custDataLst>
                <p:tags r:id="rId101"/>
              </p:custDataLst>
            </p:nvPr>
          </p:nvSpPr>
          <p:spPr>
            <a:xfrm>
              <a:off x="4334905" y="3282696"/>
              <a:ext cx="292608" cy="292608"/>
            </a:xfrm>
            <a:custGeom>
              <a:avLst/>
              <a:gdLst/>
              <a:ahLst/>
              <a:cxnLst/>
              <a:rect l="l" t="t" r="r" b="b"/>
              <a:pathLst>
                <a:path w="635000" h="635000">
                  <a:moveTo>
                    <a:pt x="317500" y="0"/>
                  </a:moveTo>
                  <a:arcTo wR="317500" hR="317500" stAng="16200000" swAng="18360000"/>
                  <a:lnTo>
                    <a:pt x="317500" y="317500"/>
                  </a:lnTo>
                  <a:close/>
                </a:path>
                <a:path w="635000" h="635000" fill="none">
                  <a:moveTo>
                    <a:pt x="60637" y="130878"/>
                  </a:moveTo>
                  <a:arcTo wR="317500" hR="317500" stAng="12960000" swAng="324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6" name="Harvey 86/100 [86]">
              <a:extLst>
                <a:ext uri="{FF2B5EF4-FFF2-40B4-BE49-F238E27FC236}">
                  <a16:creationId xmlns:a16="http://schemas.microsoft.com/office/drawing/2014/main" id="{85E1AF41-C21D-4514-B37E-CC830BC09C0A}"/>
                </a:ext>
              </a:extLst>
            </p:cNvPr>
            <p:cNvSpPr>
              <a:spLocks noChangeAspect="1"/>
            </p:cNvSpPr>
            <p:nvPr>
              <p:custDataLst>
                <p:tags r:id="rId102"/>
              </p:custDataLst>
            </p:nvPr>
          </p:nvSpPr>
          <p:spPr>
            <a:xfrm>
              <a:off x="4334905" y="3282696"/>
              <a:ext cx="292608" cy="292608"/>
            </a:xfrm>
            <a:custGeom>
              <a:avLst/>
              <a:gdLst/>
              <a:ahLst/>
              <a:cxnLst/>
              <a:rect l="l" t="t" r="r" b="b"/>
              <a:pathLst>
                <a:path w="635000" h="635000">
                  <a:moveTo>
                    <a:pt x="317500" y="0"/>
                  </a:moveTo>
                  <a:arcTo wR="317500" hR="317500" stAng="16200000" swAng="18576000"/>
                  <a:lnTo>
                    <a:pt x="317500" y="317500"/>
                  </a:lnTo>
                  <a:close/>
                </a:path>
                <a:path w="635000" h="635000" fill="none">
                  <a:moveTo>
                    <a:pt x="72862" y="115117"/>
                  </a:moveTo>
                  <a:arcTo wR="317500" hR="317500" stAng="13176000" swAng="302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7" name="Harvey 87/100 [87]">
              <a:extLst>
                <a:ext uri="{FF2B5EF4-FFF2-40B4-BE49-F238E27FC236}">
                  <a16:creationId xmlns:a16="http://schemas.microsoft.com/office/drawing/2014/main" id="{E3948F2E-FD5F-4107-B122-9AC75FE0CD9E}"/>
                </a:ext>
              </a:extLst>
            </p:cNvPr>
            <p:cNvSpPr>
              <a:spLocks noChangeAspect="1"/>
            </p:cNvSpPr>
            <p:nvPr>
              <p:custDataLst>
                <p:tags r:id="rId103"/>
              </p:custDataLst>
            </p:nvPr>
          </p:nvSpPr>
          <p:spPr>
            <a:xfrm>
              <a:off x="4334905" y="3282696"/>
              <a:ext cx="292608" cy="292608"/>
            </a:xfrm>
            <a:custGeom>
              <a:avLst/>
              <a:gdLst/>
              <a:ahLst/>
              <a:cxnLst/>
              <a:rect l="l" t="t" r="r" b="b"/>
              <a:pathLst>
                <a:path w="635000" h="635000">
                  <a:moveTo>
                    <a:pt x="317500" y="0"/>
                  </a:moveTo>
                  <a:arcTo wR="317500" hR="317500" stAng="16200000" swAng="18792000"/>
                  <a:lnTo>
                    <a:pt x="317500" y="317500"/>
                  </a:lnTo>
                  <a:close/>
                </a:path>
                <a:path w="635000" h="635000" fill="none">
                  <a:moveTo>
                    <a:pt x="86052" y="100156"/>
                  </a:moveTo>
                  <a:arcTo wR="317500" hR="317500" stAng="13392000" swAng="280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8" name="Harvey 88/100 [88]">
              <a:extLst>
                <a:ext uri="{FF2B5EF4-FFF2-40B4-BE49-F238E27FC236}">
                  <a16:creationId xmlns:a16="http://schemas.microsoft.com/office/drawing/2014/main" id="{744E57ED-019F-4A8B-A06E-9FB965FEBB23}"/>
                </a:ext>
              </a:extLst>
            </p:cNvPr>
            <p:cNvSpPr>
              <a:spLocks noChangeAspect="1"/>
            </p:cNvSpPr>
            <p:nvPr>
              <p:custDataLst>
                <p:tags r:id="rId104"/>
              </p:custDataLst>
            </p:nvPr>
          </p:nvSpPr>
          <p:spPr>
            <a:xfrm>
              <a:off x="4334905" y="3282696"/>
              <a:ext cx="292608" cy="292608"/>
            </a:xfrm>
            <a:custGeom>
              <a:avLst/>
              <a:gdLst/>
              <a:ahLst/>
              <a:cxnLst/>
              <a:rect l="l" t="t" r="r" b="b"/>
              <a:pathLst>
                <a:path w="635000" h="635000">
                  <a:moveTo>
                    <a:pt x="317500" y="0"/>
                  </a:moveTo>
                  <a:arcTo wR="317500" hR="317500" stAng="16200000" swAng="19008000"/>
                  <a:lnTo>
                    <a:pt x="317500" y="317500"/>
                  </a:lnTo>
                  <a:close/>
                </a:path>
                <a:path w="635000" h="635000" fill="none">
                  <a:moveTo>
                    <a:pt x="100156" y="86052"/>
                  </a:moveTo>
                  <a:arcTo wR="317500" hR="317500" stAng="13608000" swAng="259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19" name="Harvey 89/100 [89]">
              <a:extLst>
                <a:ext uri="{FF2B5EF4-FFF2-40B4-BE49-F238E27FC236}">
                  <a16:creationId xmlns:a16="http://schemas.microsoft.com/office/drawing/2014/main" id="{5567719B-31CA-4A86-801E-E0531122E504}"/>
                </a:ext>
              </a:extLst>
            </p:cNvPr>
            <p:cNvSpPr>
              <a:spLocks noChangeAspect="1"/>
            </p:cNvSpPr>
            <p:nvPr>
              <p:custDataLst>
                <p:tags r:id="rId105"/>
              </p:custDataLst>
            </p:nvPr>
          </p:nvSpPr>
          <p:spPr>
            <a:xfrm>
              <a:off x="4334905" y="3282696"/>
              <a:ext cx="292608" cy="292608"/>
            </a:xfrm>
            <a:custGeom>
              <a:avLst/>
              <a:gdLst/>
              <a:ahLst/>
              <a:cxnLst/>
              <a:rect l="l" t="t" r="r" b="b"/>
              <a:pathLst>
                <a:path w="635000" h="635000">
                  <a:moveTo>
                    <a:pt x="317500" y="0"/>
                  </a:moveTo>
                  <a:arcTo wR="317500" hR="317500" stAng="16200000" swAng="19224000"/>
                  <a:lnTo>
                    <a:pt x="317500" y="317500"/>
                  </a:lnTo>
                  <a:close/>
                </a:path>
                <a:path w="635000" h="635000" fill="none">
                  <a:moveTo>
                    <a:pt x="115117" y="72862"/>
                  </a:moveTo>
                  <a:arcTo wR="317500" hR="317500" stAng="13823999" swAng="2375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0" name="Harvey 90/100 [90]">
              <a:extLst>
                <a:ext uri="{FF2B5EF4-FFF2-40B4-BE49-F238E27FC236}">
                  <a16:creationId xmlns:a16="http://schemas.microsoft.com/office/drawing/2014/main" id="{2CD4B3A1-B882-43A6-A4CA-C9FCA394B28B}"/>
                </a:ext>
              </a:extLst>
            </p:cNvPr>
            <p:cNvSpPr>
              <a:spLocks noChangeAspect="1"/>
            </p:cNvSpPr>
            <p:nvPr>
              <p:custDataLst>
                <p:tags r:id="rId106"/>
              </p:custDataLst>
            </p:nvPr>
          </p:nvSpPr>
          <p:spPr>
            <a:xfrm>
              <a:off x="4334905" y="3282696"/>
              <a:ext cx="292608" cy="292608"/>
            </a:xfrm>
            <a:custGeom>
              <a:avLst/>
              <a:gdLst/>
              <a:ahLst/>
              <a:cxnLst/>
              <a:rect l="l" t="t" r="r" b="b"/>
              <a:pathLst>
                <a:path w="635000" h="635000">
                  <a:moveTo>
                    <a:pt x="317500" y="0"/>
                  </a:moveTo>
                  <a:arcTo wR="317500" hR="317500" stAng="16200000" swAng="19440000"/>
                  <a:lnTo>
                    <a:pt x="317500" y="317500"/>
                  </a:lnTo>
                  <a:close/>
                </a:path>
                <a:path w="635000" h="635000" fill="none">
                  <a:moveTo>
                    <a:pt x="130878" y="60637"/>
                  </a:moveTo>
                  <a:arcTo wR="317500" hR="317500" stAng="14040000" swAng="2159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1" name="Harvey 91/100 [91]">
              <a:extLst>
                <a:ext uri="{FF2B5EF4-FFF2-40B4-BE49-F238E27FC236}">
                  <a16:creationId xmlns:a16="http://schemas.microsoft.com/office/drawing/2014/main" id="{68606D93-5175-4900-AD89-6D0710AFE75F}"/>
                </a:ext>
              </a:extLst>
            </p:cNvPr>
            <p:cNvSpPr>
              <a:spLocks noChangeAspect="1"/>
            </p:cNvSpPr>
            <p:nvPr>
              <p:custDataLst>
                <p:tags r:id="rId107"/>
              </p:custDataLst>
            </p:nvPr>
          </p:nvSpPr>
          <p:spPr>
            <a:xfrm>
              <a:off x="4334905" y="3282696"/>
              <a:ext cx="292608" cy="292608"/>
            </a:xfrm>
            <a:custGeom>
              <a:avLst/>
              <a:gdLst/>
              <a:ahLst/>
              <a:cxnLst/>
              <a:rect l="l" t="t" r="r" b="b"/>
              <a:pathLst>
                <a:path w="635000" h="635000">
                  <a:moveTo>
                    <a:pt x="317500" y="0"/>
                  </a:moveTo>
                  <a:arcTo wR="317500" hR="317500" stAng="16200000" swAng="19656000"/>
                  <a:lnTo>
                    <a:pt x="317500" y="317500"/>
                  </a:lnTo>
                  <a:close/>
                </a:path>
                <a:path w="635000" h="635000" fill="none">
                  <a:moveTo>
                    <a:pt x="147374" y="49425"/>
                  </a:moveTo>
                  <a:arcTo wR="317500" hR="317500" stAng="14256000" swAng="1943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2" name="Harvey 92/100 [92]">
              <a:extLst>
                <a:ext uri="{FF2B5EF4-FFF2-40B4-BE49-F238E27FC236}">
                  <a16:creationId xmlns:a16="http://schemas.microsoft.com/office/drawing/2014/main" id="{7EE30864-DDCC-4BBA-B70A-48810E224581}"/>
                </a:ext>
              </a:extLst>
            </p:cNvPr>
            <p:cNvSpPr>
              <a:spLocks noChangeAspect="1"/>
            </p:cNvSpPr>
            <p:nvPr>
              <p:custDataLst>
                <p:tags r:id="rId108"/>
              </p:custDataLst>
            </p:nvPr>
          </p:nvSpPr>
          <p:spPr>
            <a:xfrm>
              <a:off x="4334905" y="3282696"/>
              <a:ext cx="292608" cy="292608"/>
            </a:xfrm>
            <a:custGeom>
              <a:avLst/>
              <a:gdLst/>
              <a:ahLst/>
              <a:cxnLst/>
              <a:rect l="l" t="t" r="r" b="b"/>
              <a:pathLst>
                <a:path w="635000" h="635000">
                  <a:moveTo>
                    <a:pt x="317500" y="0"/>
                  </a:moveTo>
                  <a:arcTo wR="317500" hR="317500" stAng="16200000" swAng="19872000"/>
                  <a:lnTo>
                    <a:pt x="317500" y="317500"/>
                  </a:lnTo>
                  <a:close/>
                </a:path>
                <a:path w="635000" h="635000" fill="none">
                  <a:moveTo>
                    <a:pt x="164543" y="39272"/>
                  </a:moveTo>
                  <a:arcTo wR="317500" hR="317500" stAng="14472000" swAng="1727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3" name="Harvey 93/100 [93]">
              <a:extLst>
                <a:ext uri="{FF2B5EF4-FFF2-40B4-BE49-F238E27FC236}">
                  <a16:creationId xmlns:a16="http://schemas.microsoft.com/office/drawing/2014/main" id="{608CA488-A707-4C7A-9287-9DA9A38ED3D4}"/>
                </a:ext>
              </a:extLst>
            </p:cNvPr>
            <p:cNvSpPr>
              <a:spLocks noChangeAspect="1"/>
            </p:cNvSpPr>
            <p:nvPr>
              <p:custDataLst>
                <p:tags r:id="rId109"/>
              </p:custDataLst>
            </p:nvPr>
          </p:nvSpPr>
          <p:spPr>
            <a:xfrm>
              <a:off x="4334905" y="3282696"/>
              <a:ext cx="292608" cy="292608"/>
            </a:xfrm>
            <a:custGeom>
              <a:avLst/>
              <a:gdLst/>
              <a:ahLst/>
              <a:cxnLst/>
              <a:rect l="l" t="t" r="r" b="b"/>
              <a:pathLst>
                <a:path w="635000" h="635000">
                  <a:moveTo>
                    <a:pt x="317500" y="0"/>
                  </a:moveTo>
                  <a:arcTo wR="317500" hR="317500" stAng="16200000" swAng="20088000"/>
                  <a:lnTo>
                    <a:pt x="317500" y="317500"/>
                  </a:lnTo>
                  <a:close/>
                </a:path>
                <a:path w="635000" h="635000" fill="none">
                  <a:moveTo>
                    <a:pt x="182315" y="30217"/>
                  </a:moveTo>
                  <a:arcTo wR="317500" hR="317500" stAng="14688000" swAng="1511999"/>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4" name="Harvey 94/100 [94]">
              <a:extLst>
                <a:ext uri="{FF2B5EF4-FFF2-40B4-BE49-F238E27FC236}">
                  <a16:creationId xmlns:a16="http://schemas.microsoft.com/office/drawing/2014/main" id="{FE1836A9-F92A-4F07-BBB8-2274E290E952}"/>
                </a:ext>
              </a:extLst>
            </p:cNvPr>
            <p:cNvSpPr>
              <a:spLocks noChangeAspect="1"/>
            </p:cNvSpPr>
            <p:nvPr>
              <p:custDataLst>
                <p:tags r:id="rId110"/>
              </p:custDataLst>
            </p:nvPr>
          </p:nvSpPr>
          <p:spPr>
            <a:xfrm>
              <a:off x="4334905" y="3282696"/>
              <a:ext cx="292608" cy="292608"/>
            </a:xfrm>
            <a:custGeom>
              <a:avLst/>
              <a:gdLst/>
              <a:ahLst/>
              <a:cxnLst/>
              <a:rect l="l" t="t" r="r" b="b"/>
              <a:pathLst>
                <a:path w="635000" h="635000">
                  <a:moveTo>
                    <a:pt x="317500" y="0"/>
                  </a:moveTo>
                  <a:arcTo wR="317500" hR="317500" stAng="16200000" swAng="20304000"/>
                  <a:lnTo>
                    <a:pt x="317500" y="317500"/>
                  </a:lnTo>
                  <a:close/>
                </a:path>
                <a:path w="635000" h="635000" fill="none">
                  <a:moveTo>
                    <a:pt x="200620" y="22295"/>
                  </a:moveTo>
                  <a:arcTo wR="317500" hR="317500" stAng="14903999" swAng="129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5" name="Harvey 95/100 [95]">
              <a:extLst>
                <a:ext uri="{FF2B5EF4-FFF2-40B4-BE49-F238E27FC236}">
                  <a16:creationId xmlns:a16="http://schemas.microsoft.com/office/drawing/2014/main" id="{3169BE73-7F99-46E3-BDA9-D9BB85BE343E}"/>
                </a:ext>
              </a:extLst>
            </p:cNvPr>
            <p:cNvSpPr>
              <a:spLocks noChangeAspect="1"/>
            </p:cNvSpPr>
            <p:nvPr>
              <p:custDataLst>
                <p:tags r:id="rId111"/>
              </p:custDataLst>
            </p:nvPr>
          </p:nvSpPr>
          <p:spPr>
            <a:xfrm>
              <a:off x="4334905" y="3282696"/>
              <a:ext cx="292608" cy="292608"/>
            </a:xfrm>
            <a:custGeom>
              <a:avLst/>
              <a:gdLst/>
              <a:ahLst/>
              <a:cxnLst/>
              <a:rect l="l" t="t" r="r" b="b"/>
              <a:pathLst>
                <a:path w="635000" h="635000">
                  <a:moveTo>
                    <a:pt x="317500" y="0"/>
                  </a:moveTo>
                  <a:arcTo wR="317500" hR="317500" stAng="16200000" swAng="20520000"/>
                  <a:lnTo>
                    <a:pt x="317500" y="317500"/>
                  </a:lnTo>
                  <a:close/>
                </a:path>
                <a:path w="635000" h="635000" fill="none">
                  <a:moveTo>
                    <a:pt x="219387" y="15539"/>
                  </a:moveTo>
                  <a:arcTo wR="317500" hR="317500" stAng="15120000" swAng="1080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6" name="Harvey 96/100 [96]">
              <a:extLst>
                <a:ext uri="{FF2B5EF4-FFF2-40B4-BE49-F238E27FC236}">
                  <a16:creationId xmlns:a16="http://schemas.microsoft.com/office/drawing/2014/main" id="{12E3B5ED-B1AB-4A99-BD20-FF638135BE37}"/>
                </a:ext>
              </a:extLst>
            </p:cNvPr>
            <p:cNvSpPr>
              <a:spLocks noChangeAspect="1"/>
            </p:cNvSpPr>
            <p:nvPr>
              <p:custDataLst>
                <p:tags r:id="rId112"/>
              </p:custDataLst>
            </p:nvPr>
          </p:nvSpPr>
          <p:spPr>
            <a:xfrm>
              <a:off x="4334905" y="3282696"/>
              <a:ext cx="292608" cy="292608"/>
            </a:xfrm>
            <a:custGeom>
              <a:avLst/>
              <a:gdLst/>
              <a:ahLst/>
              <a:cxnLst/>
              <a:rect l="l" t="t" r="r" b="b"/>
              <a:pathLst>
                <a:path w="635000" h="635000">
                  <a:moveTo>
                    <a:pt x="317500" y="0"/>
                  </a:moveTo>
                  <a:arcTo wR="317500" hR="317500" stAng="16200000" swAng="20735999"/>
                  <a:lnTo>
                    <a:pt x="317500" y="317500"/>
                  </a:lnTo>
                  <a:close/>
                </a:path>
                <a:path w="635000" h="635000" fill="none">
                  <a:moveTo>
                    <a:pt x="238540" y="9974"/>
                  </a:moveTo>
                  <a:arcTo wR="317500" hR="317500" stAng="15335999" swAng="864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7" name="Harvey 97/100 [97]">
              <a:extLst>
                <a:ext uri="{FF2B5EF4-FFF2-40B4-BE49-F238E27FC236}">
                  <a16:creationId xmlns:a16="http://schemas.microsoft.com/office/drawing/2014/main" id="{75A7FEAD-6C4B-4F7A-BB60-3A68D96114DE}"/>
                </a:ext>
              </a:extLst>
            </p:cNvPr>
            <p:cNvSpPr>
              <a:spLocks noChangeAspect="1"/>
            </p:cNvSpPr>
            <p:nvPr>
              <p:custDataLst>
                <p:tags r:id="rId113"/>
              </p:custDataLst>
            </p:nvPr>
          </p:nvSpPr>
          <p:spPr>
            <a:xfrm>
              <a:off x="4334905" y="3282696"/>
              <a:ext cx="292608" cy="292608"/>
            </a:xfrm>
            <a:custGeom>
              <a:avLst/>
              <a:gdLst/>
              <a:ahLst/>
              <a:cxnLst/>
              <a:rect l="l" t="t" r="r" b="b"/>
              <a:pathLst>
                <a:path w="635000" h="635000">
                  <a:moveTo>
                    <a:pt x="317500" y="0"/>
                  </a:moveTo>
                  <a:arcTo wR="317500" hR="317500" stAng="16200000" swAng="20952000"/>
                  <a:lnTo>
                    <a:pt x="317500" y="317500"/>
                  </a:lnTo>
                  <a:close/>
                </a:path>
                <a:path w="635000" h="635000" fill="none">
                  <a:moveTo>
                    <a:pt x="258006" y="5623"/>
                  </a:moveTo>
                  <a:arcTo wR="317500" hR="317500" stAng="15552000" swAng="648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8" name="Harvey 98/100 [98]">
              <a:extLst>
                <a:ext uri="{FF2B5EF4-FFF2-40B4-BE49-F238E27FC236}">
                  <a16:creationId xmlns:a16="http://schemas.microsoft.com/office/drawing/2014/main" id="{C4B5128E-9380-4C38-A1EB-CB12E7401609}"/>
                </a:ext>
              </a:extLst>
            </p:cNvPr>
            <p:cNvSpPr>
              <a:spLocks noChangeAspect="1"/>
            </p:cNvSpPr>
            <p:nvPr>
              <p:custDataLst>
                <p:tags r:id="rId114"/>
              </p:custDataLst>
            </p:nvPr>
          </p:nvSpPr>
          <p:spPr>
            <a:xfrm>
              <a:off x="4334905" y="3282696"/>
              <a:ext cx="292608" cy="292608"/>
            </a:xfrm>
            <a:custGeom>
              <a:avLst/>
              <a:gdLst/>
              <a:ahLst/>
              <a:cxnLst/>
              <a:rect l="l" t="t" r="r" b="b"/>
              <a:pathLst>
                <a:path w="635000" h="635000">
                  <a:moveTo>
                    <a:pt x="317500" y="0"/>
                  </a:moveTo>
                  <a:arcTo wR="317500" hR="317500" stAng="16200000" swAng="21168000"/>
                  <a:lnTo>
                    <a:pt x="317500" y="317500"/>
                  </a:lnTo>
                  <a:close/>
                </a:path>
                <a:path w="635000" h="635000" fill="none">
                  <a:moveTo>
                    <a:pt x="277706" y="2503"/>
                  </a:moveTo>
                  <a:arcTo wR="317500" hR="317500" stAng="15768000" swAng="432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29" name="Harvey 99/100 [99]">
              <a:extLst>
                <a:ext uri="{FF2B5EF4-FFF2-40B4-BE49-F238E27FC236}">
                  <a16:creationId xmlns:a16="http://schemas.microsoft.com/office/drawing/2014/main" id="{50F634E4-E5B9-4DA6-9F91-8AF5B6ACF1FB}"/>
                </a:ext>
              </a:extLst>
            </p:cNvPr>
            <p:cNvSpPr>
              <a:spLocks noChangeAspect="1"/>
            </p:cNvSpPr>
            <p:nvPr>
              <p:custDataLst>
                <p:tags r:id="rId115"/>
              </p:custDataLst>
            </p:nvPr>
          </p:nvSpPr>
          <p:spPr>
            <a:xfrm>
              <a:off x="4334905" y="3282696"/>
              <a:ext cx="292608" cy="292608"/>
            </a:xfrm>
            <a:custGeom>
              <a:avLst/>
              <a:gdLst/>
              <a:ahLst/>
              <a:cxnLst/>
              <a:rect l="l" t="t" r="r" b="b"/>
              <a:pathLst>
                <a:path w="635000" h="635000">
                  <a:moveTo>
                    <a:pt x="317500" y="0"/>
                  </a:moveTo>
                  <a:arcTo wR="317500" hR="317500" stAng="16200000" swAng="21384000"/>
                  <a:lnTo>
                    <a:pt x="317500" y="317500"/>
                  </a:lnTo>
                  <a:close/>
                </a:path>
                <a:path w="635000" h="635000" fill="none">
                  <a:moveTo>
                    <a:pt x="297564" y="626"/>
                  </a:moveTo>
                  <a:arcTo wR="317500" hR="317500" stAng="15983999" swAng="216000"/>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
          <p:nvSpPr>
            <p:cNvPr id="130" name="Harvey 100/100 [100]">
              <a:extLst>
                <a:ext uri="{FF2B5EF4-FFF2-40B4-BE49-F238E27FC236}">
                  <a16:creationId xmlns:a16="http://schemas.microsoft.com/office/drawing/2014/main" id="{94AA53CD-8233-470E-AFEE-0BCC721BFAE9}"/>
                </a:ext>
              </a:extLst>
            </p:cNvPr>
            <p:cNvSpPr>
              <a:spLocks noChangeAspect="1"/>
            </p:cNvSpPr>
            <p:nvPr>
              <p:custDataLst>
                <p:tags r:id="rId116"/>
              </p:custDataLst>
            </p:nvPr>
          </p:nvSpPr>
          <p:spPr>
            <a:xfrm>
              <a:off x="4334905" y="3282696"/>
              <a:ext cx="292608" cy="292608"/>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txBody>
            <a:bodyPr/>
            <a:lstStyle/>
            <a:p>
              <a:pPr marL="0" marR="0" lvl="0" indent="0" algn="l" defTabSz="1088232" rtl="0" eaLnBrk="1" fontAlgn="auto" latinLnBrk="0" hangingPunct="1">
                <a:lnSpc>
                  <a:spcPct val="100000"/>
                </a:lnSpc>
                <a:spcBef>
                  <a:spcPts val="0"/>
                </a:spcBef>
                <a:spcAft>
                  <a:spcPts val="0"/>
                </a:spcAft>
                <a:buClrTx/>
                <a:buSzTx/>
                <a:buFontTx/>
                <a:buNone/>
                <a:tabLst/>
                <a:defRPr/>
              </a:pPr>
              <a:endParaRPr kumimoji="0" lang="en-GB" sz="2099"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grpSp>
      <p:sp>
        <p:nvSpPr>
          <p:cNvPr id="131" name="Footnote [Placeholder]" hidden="1">
            <a:extLst>
              <a:ext uri="{FF2B5EF4-FFF2-40B4-BE49-F238E27FC236}">
                <a16:creationId xmlns:a16="http://schemas.microsoft.com/office/drawing/2014/main" id="{1B41FB17-6D57-4EE1-9C4C-9C305D5D6BEC}"/>
              </a:ext>
            </a:extLst>
          </p:cNvPr>
          <p:cNvSpPr txBox="1"/>
          <p:nvPr userDrawn="1"/>
        </p:nvSpPr>
        <p:spPr>
          <a:xfrm>
            <a:off x="503239" y="5984670"/>
            <a:ext cx="10188208" cy="138499"/>
          </a:xfrm>
          <a:prstGeom prst="rect">
            <a:avLst/>
          </a:prstGeom>
          <a:noFill/>
        </p:spPr>
        <p:txBody>
          <a:bodyPr wrap="square" lIns="0" tIns="0" rIns="0" bIns="0" rtlCol="0">
            <a:spAutoFit/>
          </a:bodyPr>
          <a:lstStyle/>
          <a:p>
            <a:pPr marL="0" marR="0" lvl="0" indent="0" algn="l" defTabSz="1088232" rtl="0" eaLnBrk="1" fontAlgn="base" latinLnBrk="0" hangingPunct="1">
              <a:lnSpc>
                <a:spcPct val="100000"/>
              </a:lnSpc>
              <a:spcBef>
                <a:spcPct val="50000"/>
              </a:spcBef>
              <a:spcAft>
                <a:spcPct val="0"/>
              </a:spcAft>
              <a:buClr>
                <a:srgbClr val="F0AB00"/>
              </a:buClr>
              <a:buSzPct val="80000"/>
              <a:buFontTx/>
              <a:buNone/>
              <a:tabLst/>
              <a:defRPr/>
            </a:pPr>
            <a:r>
              <a:rPr kumimoji="0" lang="en-US" sz="900" b="0" i="0" u="none" strike="noStrike" kern="0" cap="none" spc="0" normalizeH="0" baseline="0" noProof="0">
                <a:ln>
                  <a:noFill/>
                </a:ln>
                <a:solidFill>
                  <a:srgbClr val="000000"/>
                </a:solidFill>
                <a:effectLst/>
                <a:uLnTx/>
                <a:uFillTx/>
                <a:latin typeface="72 Brand" panose="020B0504030603020204" pitchFamily="34" charset="0"/>
                <a:ea typeface="72 Brand" pitchFamily="34" charset="-128"/>
                <a:cs typeface="72 Brand" pitchFamily="34" charset="-128"/>
              </a:rPr>
              <a:t>(r) Footnote</a:t>
            </a:r>
          </a:p>
        </p:txBody>
      </p:sp>
      <p:sp>
        <p:nvSpPr>
          <p:cNvPr id="133" name="Discussion [Sticker]" hidden="1">
            <a:extLst>
              <a:ext uri="{FF2B5EF4-FFF2-40B4-BE49-F238E27FC236}">
                <a16:creationId xmlns:a16="http://schemas.microsoft.com/office/drawing/2014/main" id="{7C793D27-9296-461C-878D-BA16CBD91587}"/>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72 Brand Medium" panose="02000000000000000000" pitchFamily="2" charset="0"/>
                <a:cs typeface="+mn-cs"/>
              </a:rPr>
              <a:t>For discussion</a:t>
            </a:r>
          </a:p>
        </p:txBody>
      </p:sp>
      <p:sp>
        <p:nvSpPr>
          <p:cNvPr id="134" name="Internal [Sticker]" hidden="1">
            <a:extLst>
              <a:ext uri="{FF2B5EF4-FFF2-40B4-BE49-F238E27FC236}">
                <a16:creationId xmlns:a16="http://schemas.microsoft.com/office/drawing/2014/main" id="{704CE42F-5A9B-4CC0-8048-99928A53C0C4}"/>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Internal use only</a:t>
            </a:r>
          </a:p>
        </p:txBody>
      </p:sp>
      <p:sp>
        <p:nvSpPr>
          <p:cNvPr id="135" name="Final [Sticker]" hidden="1">
            <a:extLst>
              <a:ext uri="{FF2B5EF4-FFF2-40B4-BE49-F238E27FC236}">
                <a16:creationId xmlns:a16="http://schemas.microsoft.com/office/drawing/2014/main" id="{348603E9-9858-4213-9B5B-929AD136906A}"/>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Final slide</a:t>
            </a:r>
          </a:p>
        </p:txBody>
      </p:sp>
      <p:sp>
        <p:nvSpPr>
          <p:cNvPr id="136" name="Backup [Sticker]" hidden="1">
            <a:extLst>
              <a:ext uri="{FF2B5EF4-FFF2-40B4-BE49-F238E27FC236}">
                <a16:creationId xmlns:a16="http://schemas.microsoft.com/office/drawing/2014/main" id="{7EEB833A-9AFC-4A66-8469-9D3897CE1E66}"/>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Backup</a:t>
            </a:r>
          </a:p>
        </p:txBody>
      </p:sp>
      <p:sp>
        <p:nvSpPr>
          <p:cNvPr id="137" name="Update [Sticker]" hidden="1">
            <a:extLst>
              <a:ext uri="{FF2B5EF4-FFF2-40B4-BE49-F238E27FC236}">
                <a16:creationId xmlns:a16="http://schemas.microsoft.com/office/drawing/2014/main" id="{D41FF937-AB04-46EE-82EF-FCE26A919A7B}"/>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Update data</a:t>
            </a:r>
          </a:p>
        </p:txBody>
      </p:sp>
      <p:sp>
        <p:nvSpPr>
          <p:cNvPr id="138" name="Dummy [Sticker]" hidden="1">
            <a:extLst>
              <a:ext uri="{FF2B5EF4-FFF2-40B4-BE49-F238E27FC236}">
                <a16:creationId xmlns:a16="http://schemas.microsoft.com/office/drawing/2014/main" id="{06C5579C-7A02-48D6-A733-4B9E6D9F1443}"/>
              </a:ext>
            </a:extLst>
          </p:cNvPr>
          <p:cNvSpPr>
            <a:spLocks/>
          </p:cNvSpPr>
          <p:nvPr userDrawn="1"/>
        </p:nvSpPr>
        <p:spPr>
          <a:xfrm>
            <a:off x="10071105" y="896921"/>
            <a:ext cx="2124070" cy="295649"/>
          </a:xfrm>
          <a:prstGeom prst="rect">
            <a:avLst/>
          </a:prstGeom>
          <a:solidFill>
            <a:schemeClr val="accent6">
              <a:lumMod val="60000"/>
              <a:lumOff val="40000"/>
            </a:schemeClr>
          </a:solidFill>
          <a:ln w="19050" cap="flat" cmpd="sng" algn="ctr">
            <a:noFill/>
            <a:prstDash val="solid"/>
          </a:ln>
          <a:effectLst/>
        </p:spPr>
        <p:txBody>
          <a:bodyPr lIns="322150" tIns="46532" rIns="89486" bIns="46532" rtlCol="0" anchor="ctr"/>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394" b="0" i="0" u="none" strike="noStrike" kern="0" cap="none" spc="0" normalizeH="0" baseline="0" noProof="0">
                <a:ln>
                  <a:noFill/>
                </a:ln>
                <a:solidFill>
                  <a:srgbClr val="FFFFFF"/>
                </a:solidFill>
                <a:effectLst/>
                <a:uLnTx/>
                <a:uFillTx/>
                <a:latin typeface="72 Brand" panose="020B0504030603020204" pitchFamily="34" charset="0"/>
                <a:ea typeface="+mn-ea"/>
                <a:cs typeface="+mn-cs"/>
              </a:rPr>
              <a:t>Dummy data</a:t>
            </a:r>
          </a:p>
        </p:txBody>
      </p:sp>
      <p:sp>
        <p:nvSpPr>
          <p:cNvPr id="139" name="Formatting [Comment]" hidden="1">
            <a:extLst>
              <a:ext uri="{FF2B5EF4-FFF2-40B4-BE49-F238E27FC236}">
                <a16:creationId xmlns:a16="http://schemas.microsoft.com/office/drawing/2014/main" id="{89EB4C18-DFF3-4A27-ACBB-99DCDC8961A8}"/>
              </a:ext>
            </a:extLst>
          </p:cNvPr>
          <p:cNvSpPr>
            <a:spLocks/>
          </p:cNvSpPr>
          <p:nvPr userDrawn="1"/>
        </p:nvSpPr>
        <p:spPr>
          <a:xfrm>
            <a:off x="9483345" y="1097679"/>
            <a:ext cx="2479101" cy="1277432"/>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a:p>
            <a:pPr marL="0" marR="0" lvl="0" indent="0" algn="l" defTabSz="913943" rtl="0" eaLnBrk="1" fontAlgn="auto" latinLnBrk="0" hangingPunct="1">
              <a:lnSpc>
                <a:spcPct val="100000"/>
              </a:lnSpc>
              <a:spcBef>
                <a:spcPts val="0"/>
              </a:spcBef>
              <a:spcAft>
                <a:spcPts val="0"/>
              </a:spcAft>
              <a:buClrTx/>
              <a:buSzTx/>
              <a:buFontTx/>
              <a:buNone/>
              <a:tabLst/>
              <a:defRPr/>
            </a:pPr>
            <a:endPar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endParaRPr>
          </a:p>
        </p:txBody>
      </p:sp>
      <p:sp>
        <p:nvSpPr>
          <p:cNvPr id="140" name="Content [Comment]" hidden="1">
            <a:extLst>
              <a:ext uri="{FF2B5EF4-FFF2-40B4-BE49-F238E27FC236}">
                <a16:creationId xmlns:a16="http://schemas.microsoft.com/office/drawing/2014/main" id="{906252E7-98DB-45F0-8278-EB60F71B7340}"/>
              </a:ext>
            </a:extLst>
          </p:cNvPr>
          <p:cNvSpPr>
            <a:spLocks/>
          </p:cNvSpPr>
          <p:nvPr userDrawn="1"/>
        </p:nvSpPr>
        <p:spPr>
          <a:xfrm>
            <a:off x="9483345" y="1097671"/>
            <a:ext cx="2479101" cy="1277440"/>
          </a:xfrm>
          <a:prstGeom prst="wedgeRectCallout">
            <a:avLst/>
          </a:prstGeom>
          <a:solidFill>
            <a:srgbClr val="FFFF00"/>
          </a:solidFill>
          <a:ln w="12700" cap="flat" cmpd="sng" algn="ctr">
            <a:solidFill>
              <a:srgbClr val="000000"/>
            </a:solidFill>
            <a:prstDash val="solid"/>
            <a:miter lim="800000"/>
          </a:ln>
          <a:effectLst/>
        </p:spPr>
        <p:txBody>
          <a:bodyPr lIns="143177" tIns="143177" rIns="143177" bIns="143177" rtlCol="0" anchor="t"/>
          <a:lstStyle/>
          <a:p>
            <a:pPr marL="0" marR="0" lvl="0" indent="0" algn="l" defTabSz="913943" rtl="0" eaLnBrk="1" fontAlgn="auto" latinLnBrk="0" hangingPunct="1">
              <a:lnSpc>
                <a:spcPct val="100000"/>
              </a:lnSpc>
              <a:spcBef>
                <a:spcPts val="0"/>
              </a:spcBef>
              <a:spcAft>
                <a:spcPts val="0"/>
              </a:spcAft>
              <a:buClrTx/>
              <a:buSzTx/>
              <a:buFontTx/>
              <a:buNone/>
              <a:tabLst/>
              <a:defRPr/>
            </a:pP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initials&gt; &lt;date&gt;</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yyyy</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MM-dd </a:t>
            </a:r>
            <a:r>
              <a:rPr kumimoji="0" lang="en-US" sz="1199" b="0" i="0" u="none" strike="noStrike" kern="0" cap="none" spc="0" normalizeH="0" baseline="0" noProof="0" err="1">
                <a:ln>
                  <a:noFill/>
                </a:ln>
                <a:solidFill>
                  <a:srgbClr val="0A0A0A"/>
                </a:solidFill>
                <a:effectLst/>
                <a:uLnTx/>
                <a:uFillTx/>
                <a:latin typeface="72 Brand" panose="020B0504030603020204" pitchFamily="34" charset="0"/>
                <a:ea typeface="+mn-ea"/>
                <a:cs typeface="+mn-cs"/>
              </a:rPr>
              <a:t>hh:mm</a:t>
            </a:r>
            <a:r>
              <a:rPr kumimoji="0" lang="en-US" sz="1199" b="0" i="0" u="none" strike="noStrike" kern="0" cap="none" spc="0" normalizeH="0" baseline="0" noProof="0">
                <a:ln>
                  <a:noFill/>
                </a:ln>
                <a:solidFill>
                  <a:srgbClr val="0A0A0A"/>
                </a:solidFill>
                <a:effectLst/>
                <a:uLnTx/>
                <a:uFillTx/>
                <a:latin typeface="72 Brand" panose="020B0504030603020204" pitchFamily="34" charset="0"/>
                <a:ea typeface="+mn-ea"/>
                <a:cs typeface="+mn-cs"/>
              </a:rPr>
              <a:t>&lt;/date&gt;: </a:t>
            </a:r>
          </a:p>
        </p:txBody>
      </p:sp>
      <p:sp>
        <p:nvSpPr>
          <p:cNvPr id="141" name="Draft [Sticker]" hidden="1">
            <a:extLst>
              <a:ext uri="{FF2B5EF4-FFF2-40B4-BE49-F238E27FC236}">
                <a16:creationId xmlns:a16="http://schemas.microsoft.com/office/drawing/2014/main" id="{904633E3-6BC9-4C5E-B74A-8B9D4AE95B20}"/>
              </a:ext>
            </a:extLst>
          </p:cNvPr>
          <p:cNvSpPr/>
          <p:nvPr userDrawn="1"/>
        </p:nvSpPr>
        <p:spPr bwMode="gray">
          <a:xfrm rot="18900000">
            <a:off x="2916644" y="2819464"/>
            <a:ext cx="6361889" cy="1219077"/>
          </a:xfrm>
          <a:prstGeom prst="rect">
            <a:avLst/>
          </a:prstGeom>
          <a:noFill/>
          <a:ln w="25400" algn="ctr">
            <a:noFill/>
            <a:miter lim="800000"/>
            <a:headEnd/>
            <a:tailEnd/>
          </a:ln>
        </p:spPr>
        <p:txBody>
          <a:bodyPr lIns="89953" tIns="71963" rIns="89953" bIns="71963" rtlCol="0" anchor="ctr"/>
          <a:lstStyle/>
          <a:p>
            <a:pPr marL="0" marR="0" lvl="0" indent="0" algn="ctr" defTabSz="913943" rtl="0" eaLnBrk="1" fontAlgn="base" latinLnBrk="0" hangingPunct="1">
              <a:lnSpc>
                <a:spcPct val="100000"/>
              </a:lnSpc>
              <a:spcBef>
                <a:spcPct val="50000"/>
              </a:spcBef>
              <a:spcAft>
                <a:spcPct val="0"/>
              </a:spcAft>
              <a:buClr>
                <a:srgbClr val="F0AB00"/>
              </a:buClr>
              <a:buSzPct val="80000"/>
              <a:buFontTx/>
              <a:buNone/>
              <a:tabLst/>
              <a:defRPr/>
            </a:pPr>
            <a:r>
              <a:rPr kumimoji="0" lang="en-US" sz="8796" b="0" i="0" u="none" strike="noStrike" kern="0" cap="none" spc="0" normalizeH="0" baseline="0" noProof="0">
                <a:ln>
                  <a:noFill/>
                </a:ln>
                <a:solidFill>
                  <a:srgbClr val="475E75"/>
                </a:solidFill>
                <a:effectLst/>
                <a:uLnTx/>
                <a:uFillTx/>
                <a:latin typeface="72 Brand" panose="020B0504030603020204" pitchFamily="34" charset="0"/>
                <a:ea typeface="72 Brand" pitchFamily="34" charset="-128"/>
                <a:cs typeface="72 Brand" pitchFamily="34" charset="-128"/>
              </a:rPr>
              <a:t>DRAFT</a:t>
            </a:r>
          </a:p>
        </p:txBody>
      </p:sp>
      <p:sp>
        <p:nvSpPr>
          <p:cNvPr id="148" name="Copyright Placeholder" descr="{&quot;templafy&quot;:{&quot;id&quot;:&quot;a74eddeb-ce90-4f01-99b3-d929310ab967&quot;}}">
            <a:extLst>
              <a:ext uri="{FF2B5EF4-FFF2-40B4-BE49-F238E27FC236}">
                <a16:creationId xmlns:a16="http://schemas.microsoft.com/office/drawing/2014/main" id="{4A8E1C91-00FA-311B-35ED-A325303F3A88}"/>
              </a:ext>
            </a:extLst>
          </p:cNvPr>
          <p:cNvSpPr txBox="1">
            <a:spLocks/>
          </p:cNvSpPr>
          <p:nvPr userDrawn="1"/>
        </p:nvSpPr>
        <p:spPr>
          <a:xfrm>
            <a:off x="578646" y="6559835"/>
            <a:ext cx="524455" cy="92333"/>
          </a:xfrm>
          <a:prstGeom prst="rect">
            <a:avLst/>
          </a:prstGeom>
        </p:spPr>
        <p:txBody>
          <a:bodyPr wrap="none" lIns="0" tIns="0" rIns="0" bIns="0" anchor="ctr" anchorCtr="0">
            <a:spAutoFit/>
          </a:bodyPr>
          <a:lstStyle>
            <a:lvl1pPr marL="0" indent="0" algn="l" defTabSz="1088558" rtl="0" eaLnBrk="1" latinLnBrk="0" hangingPunct="1">
              <a:spcBef>
                <a:spcPts val="1800"/>
              </a:spcBef>
              <a:buClr>
                <a:schemeClr val="accent1"/>
              </a:buClr>
              <a:buSzPct val="80000"/>
              <a:buFontTx/>
              <a:buNone/>
              <a:defRPr sz="6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539892" indent="0" algn="l" defTabSz="1088558" rtl="0" eaLnBrk="1" latinLnBrk="0" hangingPunct="1">
              <a:spcBef>
                <a:spcPts val="100"/>
              </a:spcBef>
              <a:buClr>
                <a:schemeClr val="tx1"/>
              </a:buClr>
              <a:buSzPct val="100000"/>
              <a:buFont typeface="Symbol" panose="05050102010706020507" pitchFamily="18" charset="2"/>
              <a:buNone/>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8014" rtl="0" eaLnBrk="1" fontAlgn="auto" latinLnBrk="0" hangingPunct="1">
              <a:lnSpc>
                <a:spcPct val="100000"/>
              </a:lnSpc>
              <a:spcBef>
                <a:spcPts val="1799"/>
              </a:spcBef>
              <a:spcAft>
                <a:spcPts val="0"/>
              </a:spcAft>
              <a:buClr>
                <a:srgbClr val="0070F2"/>
              </a:buClr>
              <a:buSzPct val="80000"/>
              <a:buFont typeface="Arial" panose="020B0604020202020204" pitchFamily="34" charset="0"/>
              <a:buNone/>
              <a:tabLst/>
              <a:defRPr/>
            </a:pPr>
            <a:r>
              <a:rPr lang="en-US" sz="600" b="0" i="0">
                <a:solidFill>
                  <a:schemeClr val="tx1"/>
                </a:solidFill>
                <a:latin typeface="72 Brand" panose="020B0504030603020204" pitchFamily="34" charset="0"/>
              </a:rPr>
              <a:t>CONFIDENTIAL</a:t>
            </a:r>
            <a:endParaRPr kumimoji="0" lang="en-US" sz="600" b="0" i="0" u="none" strike="noStrike" kern="1200" cap="none" spc="0" normalizeH="0" baseline="0" noProof="0">
              <a:ln>
                <a:noFill/>
              </a:ln>
              <a:solidFill>
                <a:srgbClr val="000000"/>
              </a:solidFill>
              <a:effectLst/>
              <a:uLnTx/>
              <a:uFillTx/>
              <a:latin typeface="72 Brand" panose="020B0504030603020204" pitchFamily="34" charset="0"/>
              <a:ea typeface="+mn-ea"/>
              <a:cs typeface="+mn-cs"/>
            </a:endParaRPr>
          </a:p>
        </p:txBody>
      </p:sp>
    </p:spTree>
    <p:extLst>
      <p:ext uri="{BB962C8B-B14F-4D97-AF65-F5344CB8AC3E}">
        <p14:creationId xmlns:p14="http://schemas.microsoft.com/office/powerpoint/2010/main" val="3249814097"/>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 id="2147483810" r:id="rId4"/>
    <p:sldLayoutId id="2147483811" r:id="rId5"/>
    <p:sldLayoutId id="2147483812" r:id="rId6"/>
    <p:sldLayoutId id="2147483813" r:id="rId7"/>
    <p:sldLayoutId id="2147483814" r:id="rId8"/>
    <p:sldLayoutId id="2147483815" r:id="rId9"/>
  </p:sldLayoutIdLst>
  <p:hf hdr="0" ftr="0" dt="0"/>
  <p:txStyles>
    <p:titleStyle>
      <a:lvl1pPr algn="l" defTabSz="1088014" rtl="0" eaLnBrk="1" latinLnBrk="0" hangingPunct="1">
        <a:spcBef>
          <a:spcPct val="0"/>
        </a:spcBef>
        <a:buNone/>
        <a:defRPr sz="2399" b="1" i="0" kern="1200" baseline="0">
          <a:gradFill>
            <a:gsLst>
              <a:gs pos="0">
                <a:schemeClr val="tx1"/>
              </a:gs>
              <a:gs pos="100000">
                <a:schemeClr val="tx1"/>
              </a:gs>
            </a:gsLst>
            <a:lin ang="5400000" scaled="1"/>
          </a:gradFill>
          <a:latin typeface="72 Brand Medium" panose="020B0504030603020204" pitchFamily="34" charset="0"/>
          <a:ea typeface="+mj-ea"/>
          <a:cs typeface="+mj-cs"/>
        </a:defRPr>
      </a:lvl1pPr>
    </p:titleStyle>
    <p:bodyStyle>
      <a:lvl1pPr marL="0" indent="0" algn="l" defTabSz="1088014" rtl="0" eaLnBrk="1" latinLnBrk="0" hangingPunct="1">
        <a:spcBef>
          <a:spcPts val="1799"/>
        </a:spcBef>
        <a:buClrTx/>
        <a:buSzPct val="80000"/>
        <a:buFont typeface="72 Brand" panose="02000000000000000000" pitchFamily="2" charset="0"/>
        <a:buChar char="​"/>
        <a:defRPr sz="1999" b="0" i="0" kern="1200">
          <a:gradFill>
            <a:gsLst>
              <a:gs pos="0">
                <a:schemeClr val="tx1"/>
              </a:gs>
              <a:gs pos="100000">
                <a:schemeClr val="tx1"/>
              </a:gs>
            </a:gsLst>
            <a:lin ang="5400000" scaled="1"/>
          </a:gradFill>
          <a:latin typeface="72 Brand" panose="020B0504030603020204" pitchFamily="34" charset="0"/>
          <a:ea typeface="+mn-ea"/>
          <a:cs typeface="+mn-cs"/>
        </a:defRPr>
      </a:lvl1pPr>
      <a:lvl2pPr marL="179874" indent="-179874" algn="l" defTabSz="1088014" rtl="0" eaLnBrk="1" latinLnBrk="0" hangingPunct="1">
        <a:spcBef>
          <a:spcPts val="600"/>
        </a:spcBef>
        <a:buClr>
          <a:schemeClr val="bg1">
            <a:lumMod val="85000"/>
          </a:schemeClr>
        </a:buClr>
        <a:buSzPct val="100000"/>
        <a:buFont typeface="Arial" panose="020B0604020202020204" pitchFamily="34" charset="0"/>
        <a:buChar char="•"/>
        <a:defRPr sz="1799" b="0" i="0" kern="1200">
          <a:gradFill>
            <a:gsLst>
              <a:gs pos="0">
                <a:schemeClr val="tx1"/>
              </a:gs>
              <a:gs pos="100000">
                <a:schemeClr val="tx1"/>
              </a:gs>
            </a:gsLst>
            <a:lin ang="5400000" scaled="1"/>
          </a:gradFill>
          <a:latin typeface="72 Brand" panose="020B0504030603020204" pitchFamily="34" charset="0"/>
          <a:ea typeface="+mn-ea"/>
          <a:cs typeface="+mn-cs"/>
        </a:defRPr>
      </a:lvl2pPr>
      <a:lvl3pPr marL="358596" indent="-179298" algn="l" defTabSz="1088014" rtl="0" eaLnBrk="1" latinLnBrk="0" hangingPunct="1">
        <a:spcBef>
          <a:spcPts val="300"/>
        </a:spcBef>
        <a:buClr>
          <a:schemeClr val="bg1">
            <a:lumMod val="85000"/>
          </a:schemeClr>
        </a:buClr>
        <a:buSzPct val="100000"/>
        <a:buFont typeface="Arial" panose="020B0604020202020204" pitchFamily="34" charset="0"/>
        <a:buChar char="•"/>
        <a:defRPr lang="en-US" sz="1799" b="0" i="0" kern="1200" noProof="0" dirty="0" smtClean="0">
          <a:gradFill>
            <a:gsLst>
              <a:gs pos="0">
                <a:schemeClr val="tx1"/>
              </a:gs>
              <a:gs pos="100000">
                <a:schemeClr val="tx1"/>
              </a:gs>
            </a:gsLst>
            <a:lin ang="5400000" scaled="1"/>
          </a:gradFill>
          <a:latin typeface="72 Brand" panose="020B0504030603020204" pitchFamily="34" charset="0"/>
          <a:ea typeface="+mn-ea"/>
          <a:cs typeface="+mn-cs"/>
        </a:defRPr>
      </a:lvl3pPr>
      <a:lvl4pPr marL="539622" indent="-179874" algn="l" defTabSz="1088014" rtl="0" eaLnBrk="1" latinLnBrk="0" hangingPunct="1">
        <a:spcBef>
          <a:spcPts val="300"/>
        </a:spcBef>
        <a:buClr>
          <a:schemeClr val="bg1">
            <a:lumMod val="85000"/>
          </a:schemeClr>
        </a:buClr>
        <a:buSzPct val="80000"/>
        <a:buFont typeface="Arial" panose="020B0604020202020204" pitchFamily="34" charset="0"/>
        <a:buChar char="•"/>
        <a:defRPr sz="1599" b="0" i="0" kern="1200">
          <a:gradFill>
            <a:gsLst>
              <a:gs pos="0">
                <a:schemeClr val="tx1"/>
              </a:gs>
              <a:gs pos="100000">
                <a:schemeClr val="tx1"/>
              </a:gs>
            </a:gsLst>
            <a:lin ang="5400000" scaled="1"/>
          </a:gradFill>
          <a:latin typeface="72 Brand" panose="020B0504030603020204" pitchFamily="34" charset="0"/>
          <a:ea typeface="+mn-ea"/>
          <a:cs typeface="+mn-cs"/>
        </a:defRPr>
      </a:lvl4pPr>
      <a:lvl5pPr marL="719496" indent="-179874" algn="l" defTabSz="1088014" rtl="0" eaLnBrk="1" latinLnBrk="0" hangingPunct="1">
        <a:spcBef>
          <a:spcPts val="100"/>
        </a:spcBef>
        <a:buClr>
          <a:schemeClr val="bg1">
            <a:lumMod val="85000"/>
          </a:schemeClr>
        </a:buClr>
        <a:buSzPct val="100000"/>
        <a:buFont typeface="Arial" panose="020B0604020202020204" pitchFamily="34" charset="0"/>
        <a:buChar char="•"/>
        <a:defRPr sz="1399" b="0" i="0" kern="1200" baseline="0">
          <a:gradFill>
            <a:gsLst>
              <a:gs pos="0">
                <a:schemeClr val="tx1"/>
              </a:gs>
              <a:gs pos="100000">
                <a:schemeClr val="tx1"/>
              </a:gs>
            </a:gsLst>
            <a:lin ang="5400000" scaled="1"/>
          </a:gradFill>
          <a:latin typeface="72 Brand" panose="020B0504030603020204" pitchFamily="34" charset="0"/>
          <a:ea typeface="+mn-ea"/>
          <a:cs typeface="+mn-cs"/>
        </a:defRPr>
      </a:lvl5pPr>
      <a:lvl6pPr marL="2992038"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045"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052"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060" indent="-272004" algn="l" defTabSz="1088014"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014" rtl="0" eaLnBrk="1" latinLnBrk="0" hangingPunct="1">
        <a:defRPr sz="2099" kern="1200">
          <a:solidFill>
            <a:schemeClr val="tx1"/>
          </a:solidFill>
          <a:latin typeface="+mn-lt"/>
          <a:ea typeface="+mn-ea"/>
          <a:cs typeface="+mn-cs"/>
        </a:defRPr>
      </a:lvl1pPr>
      <a:lvl2pPr marL="544007" algn="l" defTabSz="1088014" rtl="0" eaLnBrk="1" latinLnBrk="0" hangingPunct="1">
        <a:defRPr sz="2099" kern="1200">
          <a:solidFill>
            <a:schemeClr val="tx1"/>
          </a:solidFill>
          <a:latin typeface="+mn-lt"/>
          <a:ea typeface="+mn-ea"/>
          <a:cs typeface="+mn-cs"/>
        </a:defRPr>
      </a:lvl2pPr>
      <a:lvl3pPr marL="1088014" algn="l" defTabSz="1088014" rtl="0" eaLnBrk="1" latinLnBrk="0" hangingPunct="1">
        <a:defRPr sz="2099" kern="1200">
          <a:solidFill>
            <a:schemeClr val="tx1"/>
          </a:solidFill>
          <a:latin typeface="+mn-lt"/>
          <a:ea typeface="+mn-ea"/>
          <a:cs typeface="+mn-cs"/>
        </a:defRPr>
      </a:lvl3pPr>
      <a:lvl4pPr marL="1632021" algn="l" defTabSz="1088014" rtl="0" eaLnBrk="1" latinLnBrk="0" hangingPunct="1">
        <a:defRPr sz="2099" kern="1200">
          <a:solidFill>
            <a:schemeClr val="tx1"/>
          </a:solidFill>
          <a:latin typeface="+mn-lt"/>
          <a:ea typeface="+mn-ea"/>
          <a:cs typeface="+mn-cs"/>
        </a:defRPr>
      </a:lvl4pPr>
      <a:lvl5pPr marL="2176027" algn="l" defTabSz="1088014" rtl="0" eaLnBrk="1" latinLnBrk="0" hangingPunct="1">
        <a:defRPr sz="2099" kern="1200">
          <a:solidFill>
            <a:schemeClr val="tx1"/>
          </a:solidFill>
          <a:latin typeface="+mn-lt"/>
          <a:ea typeface="+mn-ea"/>
          <a:cs typeface="+mn-cs"/>
        </a:defRPr>
      </a:lvl5pPr>
      <a:lvl6pPr marL="2720035" algn="l" defTabSz="1088014" rtl="0" eaLnBrk="1" latinLnBrk="0" hangingPunct="1">
        <a:defRPr sz="2099" kern="1200">
          <a:solidFill>
            <a:schemeClr val="tx1"/>
          </a:solidFill>
          <a:latin typeface="+mn-lt"/>
          <a:ea typeface="+mn-ea"/>
          <a:cs typeface="+mn-cs"/>
        </a:defRPr>
      </a:lvl6pPr>
      <a:lvl7pPr marL="3264042" algn="l" defTabSz="1088014" rtl="0" eaLnBrk="1" latinLnBrk="0" hangingPunct="1">
        <a:defRPr sz="2099" kern="1200">
          <a:solidFill>
            <a:schemeClr val="tx1"/>
          </a:solidFill>
          <a:latin typeface="+mn-lt"/>
          <a:ea typeface="+mn-ea"/>
          <a:cs typeface="+mn-cs"/>
        </a:defRPr>
      </a:lvl7pPr>
      <a:lvl8pPr marL="3808049" algn="l" defTabSz="1088014" rtl="0" eaLnBrk="1" latinLnBrk="0" hangingPunct="1">
        <a:defRPr sz="2099" kern="1200">
          <a:solidFill>
            <a:schemeClr val="tx1"/>
          </a:solidFill>
          <a:latin typeface="+mn-lt"/>
          <a:ea typeface="+mn-ea"/>
          <a:cs typeface="+mn-cs"/>
        </a:defRPr>
      </a:lvl8pPr>
      <a:lvl9pPr marL="4352056" algn="l" defTabSz="1088014"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DE53C"/>
          </p15:clr>
        </p15:guide>
        <p15:guide id="2" pos="361">
          <p15:clr>
            <a:srgbClr val="F26B43"/>
          </p15:clr>
        </p15:guide>
        <p15:guide id="3" pos="7321">
          <p15:clr>
            <a:srgbClr val="F26B43"/>
          </p15:clr>
        </p15:guide>
        <p15:guide id="4" orient="horz" pos="364">
          <p15:clr>
            <a:srgbClr val="F26B43"/>
          </p15:clr>
        </p15:guide>
        <p15:guide id="5" orient="horz" pos="3958">
          <p15:clr>
            <a:srgbClr val="F26B43"/>
          </p15:clr>
        </p15:guide>
        <p15:guide id="6" orient="horz" pos="4138">
          <p15:clr>
            <a:srgbClr val="F26B43"/>
          </p15:clr>
        </p15:guide>
        <p15:guide id="7" pos="176">
          <p15:clr>
            <a:srgbClr val="F26B43"/>
          </p15:clr>
        </p15:guide>
        <p15:guide id="8" pos="7500">
          <p15:clr>
            <a:srgbClr val="F26B43"/>
          </p15:clr>
        </p15:guide>
        <p15:guide id="9" orient="horz" pos="180">
          <p15:clr>
            <a:srgbClr val="F26B43"/>
          </p15:clr>
        </p15:guide>
        <p15:guide id="10" pos="3841">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customXml" Target="../../customXml/item8.xml"/><Relationship Id="rId1" Type="http://schemas.openxmlformats.org/officeDocument/2006/relationships/customXml" Target="../../customXml/item2.xml"/><Relationship Id="rId6" Type="http://schemas.openxmlformats.org/officeDocument/2006/relationships/image" Target="../media/image14.jpg"/><Relationship Id="rId5" Type="http://schemas.openxmlformats.org/officeDocument/2006/relationships/image" Target="../media/image1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slideLayout" Target="../slideLayouts/slideLayout26.xml"/><Relationship Id="rId7" Type="http://schemas.openxmlformats.org/officeDocument/2006/relationships/image" Target="../media/image71.png"/><Relationship Id="rId2" Type="http://schemas.openxmlformats.org/officeDocument/2006/relationships/customXml" Target="../../customXml/item5.xml"/><Relationship Id="rId1" Type="http://schemas.openxmlformats.org/officeDocument/2006/relationships/customXml" Target="../../customXml/item6.xml"/><Relationship Id="rId6" Type="http://schemas.openxmlformats.org/officeDocument/2006/relationships/hyperlink" Target="mailto:michael.brass@sap.com" TargetMode="External"/><Relationship Id="rId5" Type="http://schemas.openxmlformats.org/officeDocument/2006/relationships/image" Target="../media/image70.png"/><Relationship Id="rId4" Type="http://schemas.openxmlformats.org/officeDocument/2006/relationships/notesSlide" Target="../notesSlides/notesSlide8.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18" Type="http://schemas.openxmlformats.org/officeDocument/2006/relationships/image" Target="../media/image27.png"/><Relationship Id="rId3" Type="http://schemas.openxmlformats.org/officeDocument/2006/relationships/notesSlide" Target="../notesSlides/notesSlide2.xml"/><Relationship Id="rId21" Type="http://schemas.openxmlformats.org/officeDocument/2006/relationships/image" Target="../media/image30.png"/><Relationship Id="rId7" Type="http://schemas.openxmlformats.org/officeDocument/2006/relationships/image" Target="../media/image16.svg"/><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slideLayout" Target="../slideLayouts/slideLayout13.xml"/><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tags" Target="../tags/tag259.xml"/><Relationship Id="rId6" Type="http://schemas.openxmlformats.org/officeDocument/2006/relationships/image" Target="../media/image15.png"/><Relationship Id="rId11" Type="http://schemas.openxmlformats.org/officeDocument/2006/relationships/image" Target="../media/image20.svg"/><Relationship Id="rId24" Type="http://schemas.openxmlformats.org/officeDocument/2006/relationships/image" Target="../media/image33.png"/><Relationship Id="rId5" Type="http://schemas.openxmlformats.org/officeDocument/2006/relationships/image" Target="../media/image7.emf"/><Relationship Id="rId15" Type="http://schemas.openxmlformats.org/officeDocument/2006/relationships/image" Target="../media/image24.svg"/><Relationship Id="rId23" Type="http://schemas.openxmlformats.org/officeDocument/2006/relationships/image" Target="../media/image32.png"/><Relationship Id="rId10" Type="http://schemas.openxmlformats.org/officeDocument/2006/relationships/image" Target="../media/image19.png"/><Relationship Id="rId19" Type="http://schemas.openxmlformats.org/officeDocument/2006/relationships/image" Target="../media/image28.svg"/><Relationship Id="rId4" Type="http://schemas.openxmlformats.org/officeDocument/2006/relationships/oleObject" Target="../embeddings/oleObject12.bin"/><Relationship Id="rId9" Type="http://schemas.openxmlformats.org/officeDocument/2006/relationships/image" Target="../media/image18.svg"/><Relationship Id="rId14" Type="http://schemas.openxmlformats.org/officeDocument/2006/relationships/image" Target="../media/image23.png"/><Relationship Id="rId22" Type="http://schemas.openxmlformats.org/officeDocument/2006/relationships/image" Target="../media/image31.svg"/></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8.sv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svg"/><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5.png"/><Relationship Id="rId7" Type="http://schemas.openxmlformats.org/officeDocument/2006/relationships/image" Target="../media/image48.sv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47.png"/><Relationship Id="rId5" Type="http://schemas.openxmlformats.org/officeDocument/2006/relationships/image" Target="../media/image46.svg"/><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0.png"/><Relationship Id="rId7"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46.svg"/><Relationship Id="rId5" Type="http://schemas.openxmlformats.org/officeDocument/2006/relationships/image" Target="../media/image42.png"/><Relationship Id="rId4" Type="http://schemas.openxmlformats.org/officeDocument/2006/relationships/image" Target="../media/image51.svg"/></Relationships>
</file>

<file path=ppt/slides/_rels/slide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67.svg"/><Relationship Id="rId3" Type="http://schemas.openxmlformats.org/officeDocument/2006/relationships/image" Target="../media/image58.svg"/><Relationship Id="rId7" Type="http://schemas.openxmlformats.org/officeDocument/2006/relationships/image" Target="../media/image61.svg"/><Relationship Id="rId12" Type="http://schemas.openxmlformats.org/officeDocument/2006/relationships/image" Target="../media/image66.png"/><Relationship Id="rId2" Type="http://schemas.openxmlformats.org/officeDocument/2006/relationships/image" Target="../media/image57.png"/><Relationship Id="rId1" Type="http://schemas.openxmlformats.org/officeDocument/2006/relationships/slideLayout" Target="../slideLayouts/slideLayout13.xml"/><Relationship Id="rId6" Type="http://schemas.openxmlformats.org/officeDocument/2006/relationships/image" Target="../media/image60.png"/><Relationship Id="rId11" Type="http://schemas.openxmlformats.org/officeDocument/2006/relationships/image" Target="../media/image65.svg"/><Relationship Id="rId5" Type="http://schemas.openxmlformats.org/officeDocument/2006/relationships/image" Target="../media/image59.svg"/><Relationship Id="rId15" Type="http://schemas.openxmlformats.org/officeDocument/2006/relationships/image" Target="../media/image69.svg"/><Relationship Id="rId10" Type="http://schemas.openxmlformats.org/officeDocument/2006/relationships/image" Target="../media/image64.png"/><Relationship Id="rId4" Type="http://schemas.openxmlformats.org/officeDocument/2006/relationships/image" Target="../media/image47.png"/><Relationship Id="rId9" Type="http://schemas.openxmlformats.org/officeDocument/2006/relationships/image" Target="../media/image63.svg"/><Relationship Id="rId14" Type="http://schemas.openxmlformats.org/officeDocument/2006/relationships/image" Target="../media/image6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134752C8-1E80-B141-5BC9-264FD3E5257B}"/>
              </a:ext>
            </a:extLst>
          </p:cNvPr>
          <p:cNvSpPr>
            <a:spLocks noGrp="1"/>
          </p:cNvSpPr>
          <p:nvPr>
            <p:ph type="title"/>
          </p:nvPr>
        </p:nvSpPr>
        <p:spPr/>
        <p:txBody>
          <a:bodyPr/>
          <a:lstStyle/>
          <a:p>
            <a:r>
              <a:rPr lang="de-DE" dirty="0"/>
              <a:t>Wie passen </a:t>
            </a:r>
            <a:br>
              <a:rPr lang="de-DE" dirty="0"/>
            </a:br>
            <a:r>
              <a:rPr lang="de-DE" dirty="0"/>
              <a:t>Künstliche Intelligenz und HR Transformation zusammen?</a:t>
            </a:r>
            <a:endParaRPr lang="en-US" dirty="0"/>
          </a:p>
        </p:txBody>
      </p:sp>
      <p:sp>
        <p:nvSpPr>
          <p:cNvPr id="2" name="Spaker name - Dynamic" descr="{&quot;templafy&quot;:{&quot;id&quot;:&quot;1580d160-2f44-4a40-975c-22908862a823&quot;}}">
            <a:extLst>
              <a:ext uri="{FF2B5EF4-FFF2-40B4-BE49-F238E27FC236}">
                <a16:creationId xmlns:a16="http://schemas.microsoft.com/office/drawing/2014/main" id="{E0BFCFDD-1D42-358F-BC70-8570C4C662EF}"/>
              </a:ext>
            </a:extLst>
          </p:cNvPr>
          <p:cNvSpPr txBox="1">
            <a:spLocks/>
          </p:cNvSpPr>
          <p:nvPr/>
        </p:nvSpPr>
        <p:spPr>
          <a:xfrm>
            <a:off x="287338" y="4303486"/>
            <a:ext cx="5402236" cy="22314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Michael Brass, SAP</a:t>
            </a:r>
          </a:p>
          <a:p>
            <a:pPr algn="l"/>
            <a:r>
              <a:rPr lang="en-US" sz="1400" dirty="0">
                <a:latin typeface="72 Brand" panose="020B0504030603020204" pitchFamily="34" charset="0"/>
                <a:cs typeface="72" panose="020B0503030000000003" pitchFamily="34" charset="0"/>
              </a:rPr>
              <a:t>Michelle Ulmer, EPI-USE</a:t>
            </a:r>
          </a:p>
        </p:txBody>
      </p:sp>
      <p:sp>
        <p:nvSpPr>
          <p:cNvPr id="3" name="Date - Dynamic" descr="{&quot;templafy&quot;:{&quot;id&quot;:&quot;ea5ad8bf-2779-4dde-a90d-ffbf30a3a5ed&quot;}}">
            <a:extLst>
              <a:ext uri="{FF2B5EF4-FFF2-40B4-BE49-F238E27FC236}">
                <a16:creationId xmlns:a16="http://schemas.microsoft.com/office/drawing/2014/main" id="{9E1171E2-38D8-8239-71E9-69DC21FF73B2}"/>
              </a:ext>
            </a:extLst>
          </p:cNvPr>
          <p:cNvSpPr txBox="1">
            <a:spLocks/>
          </p:cNvSpPr>
          <p:nvPr/>
        </p:nvSpPr>
        <p:spPr>
          <a:xfrm>
            <a:off x="288000" y="4534259"/>
            <a:ext cx="5402236" cy="223148"/>
          </a:xfrm>
          <a:prstGeom prst="rect">
            <a:avLst/>
          </a:prstGeom>
          <a:noFill/>
        </p:spPr>
        <p:txBody>
          <a:bodyPr wrap="square" lIns="0" tIns="0" rIns="0" bIns="0" rtlCol="0" anchor="b" anchorCtr="0">
            <a:noAutofit/>
          </a:bodyPr>
          <a:lstStyle/>
          <a:p>
            <a:pPr algn="l"/>
            <a:r>
              <a:rPr lang="en-US" sz="1400" dirty="0">
                <a:latin typeface="72 Brand" panose="020B0504030603020204" pitchFamily="34" charset="0"/>
                <a:cs typeface="72" panose="020B0503030000000003" pitchFamily="34" charset="0"/>
              </a:rPr>
              <a:t>Mai 2025</a:t>
            </a:r>
          </a:p>
        </p:txBody>
      </p:sp>
      <p:pic>
        <p:nvPicPr>
          <p:cNvPr id="18" name="Picture Placeholder 14">
            <a:extLst>
              <a:ext uri="{FF2B5EF4-FFF2-40B4-BE49-F238E27FC236}">
                <a16:creationId xmlns:a16="http://schemas.microsoft.com/office/drawing/2014/main" id="{6D39BC90-CF11-3E9B-D0F0-AE61667F4A13}"/>
              </a:ext>
              <a:ext uri="{C183D7F6-B498-43B3-948B-1728B52AA6E4}">
                <adec:decorative xmlns:adec="http://schemas.microsoft.com/office/drawing/2017/decorative" val="1"/>
              </a:ext>
            </a:extLst>
          </p:cNvPr>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a:stretch/>
        </p:blipFill>
        <p:spPr bwMode="black">
          <a:prstGeom prst="rect">
            <a:avLst/>
          </a:prstGeom>
        </p:spPr>
      </p:pic>
      <p:pic>
        <p:nvPicPr>
          <p:cNvPr id="5" name="Picture 4">
            <a:extLst>
              <a:ext uri="{FF2B5EF4-FFF2-40B4-BE49-F238E27FC236}">
                <a16:creationId xmlns:a16="http://schemas.microsoft.com/office/drawing/2014/main" id="{F7F72678-69C8-F8A6-E421-73F5362D702E}"/>
              </a:ext>
            </a:extLst>
          </p:cNvPr>
          <p:cNvPicPr>
            <a:picLocks noChangeAspect="1"/>
          </p:cNvPicPr>
          <p:nvPr/>
        </p:nvPicPr>
        <p:blipFill>
          <a:blip r:embed="rId6"/>
          <a:stretch>
            <a:fillRect/>
          </a:stretch>
        </p:blipFill>
        <p:spPr>
          <a:xfrm>
            <a:off x="4257319" y="386745"/>
            <a:ext cx="1432255" cy="442638"/>
          </a:xfrm>
          <a:prstGeom prst="rect">
            <a:avLst/>
          </a:prstGeom>
        </p:spPr>
      </p:pic>
    </p:spTree>
    <p:custDataLst>
      <p:custData r:id="rId1"/>
      <p:custData r:id="rId2"/>
    </p:custDataLst>
    <p:extLst>
      <p:ext uri="{BB962C8B-B14F-4D97-AF65-F5344CB8AC3E}">
        <p14:creationId xmlns:p14="http://schemas.microsoft.com/office/powerpoint/2010/main" val="3316874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AAF7117E-15CD-54C6-0889-3BD67DE0E5CB}"/>
              </a:ext>
            </a:extLst>
          </p:cNvPr>
          <p:cNvSpPr>
            <a:spLocks noGrp="1"/>
          </p:cNvSpPr>
          <p:nvPr>
            <p:ph type="title"/>
          </p:nvPr>
        </p:nvSpPr>
        <p:spPr>
          <a:xfrm>
            <a:off x="498475" y="1539875"/>
            <a:ext cx="5413477" cy="846386"/>
          </a:xfrm>
        </p:spPr>
        <p:txBody>
          <a:bodyPr/>
          <a:lstStyle/>
          <a:p>
            <a:r>
              <a:rPr lang="en-US" dirty="0" err="1"/>
              <a:t>Vielen</a:t>
            </a:r>
            <a:r>
              <a:rPr lang="en-US" dirty="0"/>
              <a:t> Dank.</a:t>
            </a:r>
          </a:p>
        </p:txBody>
      </p:sp>
      <p:pic>
        <p:nvPicPr>
          <p:cNvPr id="2" name="Picture 1">
            <a:extLst>
              <a:ext uri="{FF2B5EF4-FFF2-40B4-BE49-F238E27FC236}">
                <a16:creationId xmlns:a16="http://schemas.microsoft.com/office/drawing/2014/main" id="{92975627-19E7-3BD9-CF04-FBD5E9B5485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8475" y="3364420"/>
            <a:ext cx="1298822" cy="1360670"/>
          </a:xfrm>
          <a:prstGeom prst="rect">
            <a:avLst/>
          </a:prstGeom>
        </p:spPr>
      </p:pic>
      <p:sp>
        <p:nvSpPr>
          <p:cNvPr id="5" name="Text Placeholder 2">
            <a:extLst>
              <a:ext uri="{FF2B5EF4-FFF2-40B4-BE49-F238E27FC236}">
                <a16:creationId xmlns:a16="http://schemas.microsoft.com/office/drawing/2014/main" id="{F14BE4F3-F2F9-C1AF-09BC-00CA5C6CAD96}"/>
              </a:ext>
            </a:extLst>
          </p:cNvPr>
          <p:cNvSpPr txBox="1">
            <a:spLocks/>
          </p:cNvSpPr>
          <p:nvPr/>
        </p:nvSpPr>
        <p:spPr>
          <a:xfrm>
            <a:off x="2077849" y="3310632"/>
            <a:ext cx="2821018" cy="1597873"/>
          </a:xfrm>
          <a:prstGeom prst="rect">
            <a:avLst/>
          </a:prstGeom>
        </p:spPr>
        <p:txBody>
          <a:bodyPr wrap="square" lIns="0" tIns="0" rIns="0" bIns="0">
            <a:spAutoFit/>
          </a:bodyPr>
          <a:lstStyle>
            <a:lvl1pPr marL="180000" indent="-180000" algn="l" defTabSz="1088449" rtl="0" eaLnBrk="1" latinLnBrk="0" hangingPunct="1">
              <a:spcBef>
                <a:spcPts val="0"/>
              </a:spcBef>
              <a:spcAft>
                <a:spcPts val="200"/>
              </a:spcAft>
              <a:buClr>
                <a:srgbClr val="00B050"/>
              </a:buClr>
              <a:buSzPct val="80000"/>
              <a:buFont typeface="LucidaGrande" charset="0"/>
              <a:buChar char="▪"/>
              <a:tabLst/>
              <a:defRPr sz="2000" b="0" kern="1200">
                <a:solidFill>
                  <a:schemeClr val="tx1">
                    <a:lumMod val="75000"/>
                    <a:lumOff val="25000"/>
                  </a:schemeClr>
                </a:solidFill>
                <a:latin typeface="+mn-lt"/>
                <a:ea typeface="+mn-ea"/>
                <a:cs typeface="+mn-cs"/>
              </a:defRPr>
            </a:lvl1pPr>
            <a:lvl2pPr marL="358775" indent="-180000" algn="l" defTabSz="1088449" rtl="0" eaLnBrk="1" latinLnBrk="0" hangingPunct="1">
              <a:spcBef>
                <a:spcPts val="0"/>
              </a:spcBef>
              <a:spcAft>
                <a:spcPts val="200"/>
              </a:spcAft>
              <a:buClr>
                <a:srgbClr val="00B050"/>
              </a:buClr>
              <a:buSzPct val="80000"/>
              <a:buFont typeface="LucidaGrande" charset="0"/>
              <a:buChar char="▫"/>
              <a:tabLst/>
              <a:defRPr sz="1799" kern="1200">
                <a:solidFill>
                  <a:schemeClr val="tx1">
                    <a:lumMod val="75000"/>
                    <a:lumOff val="25000"/>
                  </a:schemeClr>
                </a:solidFill>
                <a:latin typeface="+mn-lt"/>
                <a:ea typeface="+mn-ea"/>
                <a:cs typeface="+mn-cs"/>
              </a:defRPr>
            </a:lvl2pPr>
            <a:lvl3pPr marL="540000" indent="-180000" algn="l" defTabSz="1088449" rtl="0" eaLnBrk="1" latinLnBrk="0" hangingPunct="1">
              <a:spcBef>
                <a:spcPts val="0"/>
              </a:spcBef>
              <a:spcAft>
                <a:spcPts val="200"/>
              </a:spcAft>
              <a:buClr>
                <a:srgbClr val="00B050"/>
              </a:buClr>
              <a:buSzPct val="100000"/>
              <a:buFont typeface=".AppleSystemUIFont" charset="-120"/>
              <a:buChar char="-"/>
              <a:tabLst/>
              <a:defRPr sz="1600" kern="1200">
                <a:solidFill>
                  <a:schemeClr val="tx1">
                    <a:lumMod val="75000"/>
                    <a:lumOff val="25000"/>
                  </a:schemeClr>
                </a:solidFill>
                <a:latin typeface="+mn-lt"/>
                <a:ea typeface="+mn-ea"/>
                <a:cs typeface="+mn-cs"/>
              </a:defRPr>
            </a:lvl3pPr>
            <a:lvl4pPr marL="720000" indent="-180000" algn="l" defTabSz="1088449" rtl="0" eaLnBrk="1" latinLnBrk="0" hangingPunct="1">
              <a:spcBef>
                <a:spcPts val="0"/>
              </a:spcBef>
              <a:spcAft>
                <a:spcPts val="200"/>
              </a:spcAft>
              <a:buClr>
                <a:srgbClr val="00B050"/>
              </a:buClr>
              <a:buSzPct val="100000"/>
              <a:buFont typeface=".AppleSystemUIFont" charset="-120"/>
              <a:buChar char="-"/>
              <a:tabLst/>
              <a:defRPr sz="1400" kern="1200">
                <a:solidFill>
                  <a:schemeClr val="tx1">
                    <a:lumMod val="75000"/>
                    <a:lumOff val="25000"/>
                  </a:schemeClr>
                </a:solidFill>
                <a:latin typeface="+mn-lt"/>
                <a:ea typeface="+mn-ea"/>
                <a:cs typeface="+mn-cs"/>
              </a:defRPr>
            </a:lvl4pPr>
            <a:lvl5pPr marL="900000" indent="-180975" algn="l" defTabSz="1088449" rtl="0" eaLnBrk="1" latinLnBrk="0" hangingPunct="1">
              <a:spcBef>
                <a:spcPts val="0"/>
              </a:spcBef>
              <a:spcAft>
                <a:spcPts val="200"/>
              </a:spcAft>
              <a:buClr>
                <a:srgbClr val="00B050"/>
              </a:buClr>
              <a:buSzPct val="100000"/>
              <a:buFont typeface=".AppleSystemUIFont" charset="-120"/>
              <a:buChar char="-"/>
              <a:tabLst/>
              <a:defRPr sz="1400" kern="1200">
                <a:solidFill>
                  <a:schemeClr val="tx1">
                    <a:lumMod val="75000"/>
                    <a:lumOff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None/>
            </a:pPr>
            <a:r>
              <a:rPr lang="de-DE" sz="1200" b="1" dirty="0">
                <a:solidFill>
                  <a:schemeClr val="tx1"/>
                </a:solidFill>
                <a:latin typeface="72 Brand" panose="020B0504030603020204" pitchFamily="34" charset="0"/>
              </a:rPr>
              <a:t>Michael Brass</a:t>
            </a:r>
            <a:endParaRPr lang="de-DE" sz="1200" dirty="0">
              <a:solidFill>
                <a:schemeClr val="tx1"/>
              </a:solidFill>
              <a:latin typeface="72 Brand" panose="020B0504030603020204" pitchFamily="34" charset="0"/>
            </a:endParaRPr>
          </a:p>
          <a:p>
            <a:pPr marL="0" indent="0">
              <a:buNone/>
            </a:pPr>
            <a:br>
              <a:rPr lang="de-DE" sz="1050" dirty="0">
                <a:solidFill>
                  <a:schemeClr val="tx1"/>
                </a:solidFill>
                <a:latin typeface="72 Brand" panose="020B0504030603020204" pitchFamily="34" charset="0"/>
              </a:rPr>
            </a:br>
            <a:r>
              <a:rPr lang="de-DE" sz="1050" dirty="0">
                <a:solidFill>
                  <a:schemeClr val="tx1"/>
                </a:solidFill>
                <a:latin typeface="72 Brand" panose="020B0504030603020204" pitchFamily="34" charset="0"/>
              </a:rPr>
              <a:t>HR Value </a:t>
            </a:r>
            <a:r>
              <a:rPr lang="de-DE" sz="1050" dirty="0" err="1">
                <a:solidFill>
                  <a:schemeClr val="tx1"/>
                </a:solidFill>
                <a:latin typeface="72 Brand" panose="020B0504030603020204" pitchFamily="34" charset="0"/>
              </a:rPr>
              <a:t>Advisor</a:t>
            </a:r>
            <a:r>
              <a:rPr lang="de-DE" sz="1050" dirty="0">
                <a:solidFill>
                  <a:schemeClr val="tx1"/>
                </a:solidFill>
                <a:latin typeface="72 Brand" panose="020B0504030603020204" pitchFamily="34" charset="0"/>
              </a:rPr>
              <a:t>, HCM Europe SAA (SAP GER)</a:t>
            </a:r>
            <a:br>
              <a:rPr lang="de-DE" sz="1050" dirty="0">
                <a:solidFill>
                  <a:schemeClr val="tx1"/>
                </a:solidFill>
                <a:latin typeface="72 Brand" panose="020B0504030603020204" pitchFamily="34" charset="0"/>
              </a:rPr>
            </a:br>
            <a:r>
              <a:rPr lang="de-DE" sz="1050" b="1" dirty="0">
                <a:solidFill>
                  <a:schemeClr val="tx1"/>
                </a:solidFill>
                <a:latin typeface="72 Brand" panose="020B0504030603020204" pitchFamily="34" charset="0"/>
              </a:rPr>
              <a:t>SAP Deutschland SE &amp; Co.KG</a:t>
            </a:r>
            <a:r>
              <a:rPr lang="de-DE" sz="1050" dirty="0">
                <a:solidFill>
                  <a:schemeClr val="tx1"/>
                </a:solidFill>
                <a:latin typeface="72 Brand" panose="020B0504030603020204" pitchFamily="34" charset="0"/>
              </a:rPr>
              <a:t> </a:t>
            </a:r>
            <a:br>
              <a:rPr lang="de-DE" sz="1050" dirty="0">
                <a:solidFill>
                  <a:schemeClr val="tx1"/>
                </a:solidFill>
                <a:latin typeface="72 Brand" panose="020B0504030603020204" pitchFamily="34" charset="0"/>
              </a:rPr>
            </a:br>
            <a:r>
              <a:rPr lang="de-DE" sz="1050" dirty="0">
                <a:solidFill>
                  <a:schemeClr val="tx1"/>
                </a:solidFill>
                <a:latin typeface="72 Brand" panose="020B0504030603020204" pitchFamily="34" charset="0"/>
              </a:rPr>
              <a:t>Frankfurter </a:t>
            </a:r>
            <a:r>
              <a:rPr lang="de-DE" sz="1050" dirty="0" err="1">
                <a:solidFill>
                  <a:schemeClr val="tx1"/>
                </a:solidFill>
                <a:latin typeface="72 Brand" panose="020B0504030603020204" pitchFamily="34" charset="0"/>
              </a:rPr>
              <a:t>Strasse</a:t>
            </a:r>
            <a:r>
              <a:rPr lang="de-DE" sz="1050" dirty="0">
                <a:solidFill>
                  <a:schemeClr val="tx1"/>
                </a:solidFill>
                <a:latin typeface="72 Brand" panose="020B0504030603020204" pitchFamily="34" charset="0"/>
              </a:rPr>
              <a:t> 1</a:t>
            </a:r>
            <a:br>
              <a:rPr lang="de-DE" sz="1050" dirty="0">
                <a:solidFill>
                  <a:schemeClr val="tx1"/>
                </a:solidFill>
                <a:latin typeface="72 Brand" panose="020B0504030603020204" pitchFamily="34" charset="0"/>
              </a:rPr>
            </a:br>
            <a:r>
              <a:rPr lang="de-DE" sz="1050" dirty="0">
                <a:solidFill>
                  <a:schemeClr val="tx1"/>
                </a:solidFill>
                <a:latin typeface="72 Brand" panose="020B0504030603020204" pitchFamily="34" charset="0"/>
              </a:rPr>
              <a:t>65760 Eschborn, Germany</a:t>
            </a:r>
          </a:p>
          <a:p>
            <a:pPr marL="0" indent="0">
              <a:buNone/>
            </a:pPr>
            <a:br>
              <a:rPr lang="de-DE" sz="1200" dirty="0">
                <a:solidFill>
                  <a:schemeClr val="tx1"/>
                </a:solidFill>
                <a:latin typeface="72 Brand" panose="020B0504030603020204" pitchFamily="34" charset="0"/>
              </a:rPr>
            </a:br>
            <a:r>
              <a:rPr lang="de-DE" sz="1200" dirty="0">
                <a:solidFill>
                  <a:schemeClr val="tx1"/>
                </a:solidFill>
                <a:latin typeface="72 Brand" panose="020B0504030603020204" pitchFamily="34" charset="0"/>
              </a:rPr>
              <a:t>Mobile +49 170 3752171 </a:t>
            </a:r>
            <a:br>
              <a:rPr lang="de-DE" sz="1200" dirty="0">
                <a:solidFill>
                  <a:schemeClr val="tx1"/>
                </a:solidFill>
                <a:latin typeface="72 Brand" panose="020B0504030603020204" pitchFamily="34" charset="0"/>
              </a:rPr>
            </a:br>
            <a:r>
              <a:rPr lang="de-DE" sz="1200" dirty="0">
                <a:solidFill>
                  <a:schemeClr val="tx1"/>
                </a:solidFill>
                <a:latin typeface="72 Brand" panose="020B0504030603020204" pitchFamily="34" charset="0"/>
              </a:rPr>
              <a:t>Email </a:t>
            </a:r>
            <a:r>
              <a:rPr lang="de-DE" sz="1200" dirty="0">
                <a:solidFill>
                  <a:schemeClr val="tx1"/>
                </a:solidFill>
                <a:latin typeface="72 Brand" panose="020B0504030603020204" pitchFamily="34" charset="0"/>
                <a:hlinkClick r:id="rId6">
                  <a:extLst>
                    <a:ext uri="{A12FA001-AC4F-418D-AE19-62706E023703}">
                      <ahyp:hlinkClr xmlns:ahyp="http://schemas.microsoft.com/office/drawing/2018/hyperlinkcolor" val="tx"/>
                    </a:ext>
                  </a:extLst>
                </a:hlinkClick>
              </a:rPr>
              <a:t>michael.brass@sap.com</a:t>
            </a:r>
            <a:endParaRPr lang="de-DE" sz="1200" dirty="0">
              <a:solidFill>
                <a:schemeClr val="tx1"/>
              </a:solidFill>
              <a:latin typeface="72 Brand" panose="020B0504030603020204" pitchFamily="34" charset="0"/>
            </a:endParaRPr>
          </a:p>
        </p:txBody>
      </p:sp>
      <p:pic>
        <p:nvPicPr>
          <p:cNvPr id="4" name="Picture 3">
            <a:extLst>
              <a:ext uri="{FF2B5EF4-FFF2-40B4-BE49-F238E27FC236}">
                <a16:creationId xmlns:a16="http://schemas.microsoft.com/office/drawing/2014/main" id="{1E4994E8-0678-7702-4754-AA3D251C2935}"/>
              </a:ext>
            </a:extLst>
          </p:cNvPr>
          <p:cNvPicPr>
            <a:picLocks noChangeAspect="1"/>
          </p:cNvPicPr>
          <p:nvPr/>
        </p:nvPicPr>
        <p:blipFill>
          <a:blip r:embed="rId7"/>
          <a:stretch>
            <a:fillRect/>
          </a:stretch>
        </p:blipFill>
        <p:spPr>
          <a:xfrm>
            <a:off x="6591174" y="3306785"/>
            <a:ext cx="1585893" cy="1601720"/>
          </a:xfrm>
          <a:prstGeom prst="rect">
            <a:avLst/>
          </a:prstGeom>
        </p:spPr>
      </p:pic>
      <p:sp>
        <p:nvSpPr>
          <p:cNvPr id="6" name="Text Placeholder 2">
            <a:extLst>
              <a:ext uri="{FF2B5EF4-FFF2-40B4-BE49-F238E27FC236}">
                <a16:creationId xmlns:a16="http://schemas.microsoft.com/office/drawing/2014/main" id="{D0EE46D8-C4D9-90FE-2C44-001C7A147008}"/>
              </a:ext>
            </a:extLst>
          </p:cNvPr>
          <p:cNvSpPr txBox="1">
            <a:spLocks/>
          </p:cNvSpPr>
          <p:nvPr/>
        </p:nvSpPr>
        <p:spPr>
          <a:xfrm>
            <a:off x="8458865" y="3310632"/>
            <a:ext cx="2821018" cy="1623521"/>
          </a:xfrm>
          <a:prstGeom prst="rect">
            <a:avLst/>
          </a:prstGeom>
        </p:spPr>
        <p:txBody>
          <a:bodyPr wrap="square" lIns="0" tIns="0" rIns="0" bIns="0">
            <a:spAutoFit/>
          </a:bodyPr>
          <a:lstStyle>
            <a:lvl1pPr marL="180000" indent="-180000" algn="l" defTabSz="1088449" rtl="0" eaLnBrk="1" latinLnBrk="0" hangingPunct="1">
              <a:spcBef>
                <a:spcPts val="0"/>
              </a:spcBef>
              <a:spcAft>
                <a:spcPts val="200"/>
              </a:spcAft>
              <a:buClr>
                <a:srgbClr val="00B050"/>
              </a:buClr>
              <a:buSzPct val="80000"/>
              <a:buFont typeface="LucidaGrande" charset="0"/>
              <a:buChar char="▪"/>
              <a:tabLst/>
              <a:defRPr sz="2000" b="0" kern="1200">
                <a:solidFill>
                  <a:schemeClr val="tx1">
                    <a:lumMod val="75000"/>
                    <a:lumOff val="25000"/>
                  </a:schemeClr>
                </a:solidFill>
                <a:latin typeface="+mn-lt"/>
                <a:ea typeface="+mn-ea"/>
                <a:cs typeface="+mn-cs"/>
              </a:defRPr>
            </a:lvl1pPr>
            <a:lvl2pPr marL="358775" indent="-180000" algn="l" defTabSz="1088449" rtl="0" eaLnBrk="1" latinLnBrk="0" hangingPunct="1">
              <a:spcBef>
                <a:spcPts val="0"/>
              </a:spcBef>
              <a:spcAft>
                <a:spcPts val="200"/>
              </a:spcAft>
              <a:buClr>
                <a:srgbClr val="00B050"/>
              </a:buClr>
              <a:buSzPct val="80000"/>
              <a:buFont typeface="LucidaGrande" charset="0"/>
              <a:buChar char="▫"/>
              <a:tabLst/>
              <a:defRPr sz="1799" kern="1200">
                <a:solidFill>
                  <a:schemeClr val="tx1">
                    <a:lumMod val="75000"/>
                    <a:lumOff val="25000"/>
                  </a:schemeClr>
                </a:solidFill>
                <a:latin typeface="+mn-lt"/>
                <a:ea typeface="+mn-ea"/>
                <a:cs typeface="+mn-cs"/>
              </a:defRPr>
            </a:lvl2pPr>
            <a:lvl3pPr marL="540000" indent="-180000" algn="l" defTabSz="1088449" rtl="0" eaLnBrk="1" latinLnBrk="0" hangingPunct="1">
              <a:spcBef>
                <a:spcPts val="0"/>
              </a:spcBef>
              <a:spcAft>
                <a:spcPts val="200"/>
              </a:spcAft>
              <a:buClr>
                <a:srgbClr val="00B050"/>
              </a:buClr>
              <a:buSzPct val="100000"/>
              <a:buFont typeface=".AppleSystemUIFont" charset="-120"/>
              <a:buChar char="-"/>
              <a:tabLst/>
              <a:defRPr sz="1600" kern="1200">
                <a:solidFill>
                  <a:schemeClr val="tx1">
                    <a:lumMod val="75000"/>
                    <a:lumOff val="25000"/>
                  </a:schemeClr>
                </a:solidFill>
                <a:latin typeface="+mn-lt"/>
                <a:ea typeface="+mn-ea"/>
                <a:cs typeface="+mn-cs"/>
              </a:defRPr>
            </a:lvl3pPr>
            <a:lvl4pPr marL="720000" indent="-180000" algn="l" defTabSz="1088449" rtl="0" eaLnBrk="1" latinLnBrk="0" hangingPunct="1">
              <a:spcBef>
                <a:spcPts val="0"/>
              </a:spcBef>
              <a:spcAft>
                <a:spcPts val="200"/>
              </a:spcAft>
              <a:buClr>
                <a:srgbClr val="00B050"/>
              </a:buClr>
              <a:buSzPct val="100000"/>
              <a:buFont typeface=".AppleSystemUIFont" charset="-120"/>
              <a:buChar char="-"/>
              <a:tabLst/>
              <a:defRPr sz="1400" kern="1200">
                <a:solidFill>
                  <a:schemeClr val="tx1">
                    <a:lumMod val="75000"/>
                    <a:lumOff val="25000"/>
                  </a:schemeClr>
                </a:solidFill>
                <a:latin typeface="+mn-lt"/>
                <a:ea typeface="+mn-ea"/>
                <a:cs typeface="+mn-cs"/>
              </a:defRPr>
            </a:lvl4pPr>
            <a:lvl5pPr marL="900000" indent="-180975" algn="l" defTabSz="1088449" rtl="0" eaLnBrk="1" latinLnBrk="0" hangingPunct="1">
              <a:spcBef>
                <a:spcPts val="0"/>
              </a:spcBef>
              <a:spcAft>
                <a:spcPts val="200"/>
              </a:spcAft>
              <a:buClr>
                <a:srgbClr val="00B050"/>
              </a:buClr>
              <a:buSzPct val="100000"/>
              <a:buFont typeface=".AppleSystemUIFont" charset="-120"/>
              <a:buChar char="-"/>
              <a:tabLst/>
              <a:defRPr sz="1400" kern="1200">
                <a:solidFill>
                  <a:schemeClr val="tx1">
                    <a:lumMod val="75000"/>
                    <a:lumOff val="25000"/>
                  </a:schemeClr>
                </a:solidFill>
                <a:latin typeface="+mn-lt"/>
                <a:ea typeface="+mn-ea"/>
                <a:cs typeface="+mn-cs"/>
              </a:defRPr>
            </a:lvl5pPr>
            <a:lvl6pPr marL="2993236"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746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1685"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5910" indent="-272112" algn="l" defTabSz="1088449" rtl="0" eaLnBrk="1" latinLnBrk="0" hangingPunct="1">
              <a:spcBef>
                <a:spcPct val="20000"/>
              </a:spcBef>
              <a:buFont typeface="Arial" pitchFamily="34" charset="0"/>
              <a:buChar char="•"/>
              <a:defRPr sz="2399" kern="1200">
                <a:solidFill>
                  <a:schemeClr val="tx1"/>
                </a:solidFill>
                <a:latin typeface="+mn-lt"/>
                <a:ea typeface="+mn-ea"/>
                <a:cs typeface="+mn-cs"/>
              </a:defRPr>
            </a:lvl9pPr>
          </a:lstStyle>
          <a:p>
            <a:pPr marL="0" indent="0">
              <a:buNone/>
            </a:pPr>
            <a:r>
              <a:rPr lang="de-DE" sz="1200" b="1" dirty="0">
                <a:solidFill>
                  <a:schemeClr val="tx1"/>
                </a:solidFill>
                <a:latin typeface="72 Brand" panose="020B0504030603020204" pitchFamily="34" charset="0"/>
              </a:rPr>
              <a:t>Michelle Ulmer</a:t>
            </a:r>
            <a:endParaRPr lang="de-DE" sz="1200" dirty="0">
              <a:solidFill>
                <a:schemeClr val="tx1"/>
              </a:solidFill>
              <a:latin typeface="72 Brand" panose="020B0504030603020204" pitchFamily="34" charset="0"/>
            </a:endParaRPr>
          </a:p>
          <a:p>
            <a:pPr marL="0" indent="0">
              <a:buNone/>
            </a:pPr>
            <a:br>
              <a:rPr lang="de-DE" sz="1050" dirty="0">
                <a:solidFill>
                  <a:schemeClr val="tx1"/>
                </a:solidFill>
                <a:latin typeface="72 Brand" panose="020B0504030603020204" pitchFamily="34" charset="0"/>
              </a:rPr>
            </a:br>
            <a:r>
              <a:rPr lang="de-DE" sz="1050" dirty="0">
                <a:solidFill>
                  <a:schemeClr val="tx1"/>
                </a:solidFill>
                <a:latin typeface="72 Brand" panose="020B0504030603020204" pitchFamily="34" charset="0"/>
              </a:rPr>
              <a:t>Sales Managerin HCM</a:t>
            </a:r>
            <a:br>
              <a:rPr lang="de-DE" sz="1050" dirty="0">
                <a:solidFill>
                  <a:schemeClr val="tx1"/>
                </a:solidFill>
                <a:latin typeface="72 Brand" panose="020B0504030603020204" pitchFamily="34" charset="0"/>
              </a:rPr>
            </a:br>
            <a:r>
              <a:rPr lang="de-DE" sz="1050" b="1" dirty="0">
                <a:solidFill>
                  <a:schemeClr val="tx1"/>
                </a:solidFill>
                <a:latin typeface="72 Brand" panose="020B0504030603020204" pitchFamily="34" charset="0"/>
              </a:rPr>
              <a:t>EPI-USE Labs GmbH</a:t>
            </a:r>
            <a:br>
              <a:rPr lang="de-DE" sz="1050" dirty="0">
                <a:solidFill>
                  <a:schemeClr val="tx1"/>
                </a:solidFill>
                <a:latin typeface="72 Brand" panose="020B0504030603020204" pitchFamily="34" charset="0"/>
              </a:rPr>
            </a:br>
            <a:r>
              <a:rPr lang="de-DE" sz="1050" dirty="0" err="1">
                <a:solidFill>
                  <a:schemeClr val="tx1"/>
                </a:solidFill>
                <a:latin typeface="72 Brand" panose="020B0504030603020204" pitchFamily="34" charset="0"/>
              </a:rPr>
              <a:t>Altrottstr</a:t>
            </a:r>
            <a:r>
              <a:rPr lang="de-DE" sz="1050" dirty="0">
                <a:solidFill>
                  <a:schemeClr val="tx1"/>
                </a:solidFill>
                <a:latin typeface="72 Brand" panose="020B0504030603020204" pitchFamily="34" charset="0"/>
              </a:rPr>
              <a:t>. 31 </a:t>
            </a:r>
          </a:p>
          <a:p>
            <a:pPr marL="0" indent="0">
              <a:buNone/>
            </a:pPr>
            <a:r>
              <a:rPr lang="de-DE" sz="1050" dirty="0">
                <a:solidFill>
                  <a:schemeClr val="tx1"/>
                </a:solidFill>
                <a:latin typeface="72 Brand" panose="020B0504030603020204" pitchFamily="34" charset="0"/>
              </a:rPr>
              <a:t>69190 Walldorf, Germany</a:t>
            </a:r>
          </a:p>
          <a:p>
            <a:pPr marL="0" indent="0">
              <a:buNone/>
            </a:pPr>
            <a:br>
              <a:rPr lang="de-DE" sz="1200" dirty="0">
                <a:solidFill>
                  <a:schemeClr val="tx1"/>
                </a:solidFill>
                <a:latin typeface="72 Brand" panose="020B0504030603020204" pitchFamily="34" charset="0"/>
              </a:rPr>
            </a:br>
            <a:r>
              <a:rPr lang="de-DE" sz="1200" dirty="0">
                <a:solidFill>
                  <a:schemeClr val="tx1"/>
                </a:solidFill>
                <a:latin typeface="72 Brand" panose="020B0504030603020204" pitchFamily="34" charset="0"/>
              </a:rPr>
              <a:t>Mobile +49 160 95 6570 76  </a:t>
            </a:r>
            <a:br>
              <a:rPr lang="de-DE" sz="1200" dirty="0">
                <a:solidFill>
                  <a:schemeClr val="tx1"/>
                </a:solidFill>
                <a:latin typeface="72 Brand" panose="020B0504030603020204" pitchFamily="34" charset="0"/>
              </a:rPr>
            </a:br>
            <a:r>
              <a:rPr lang="de-DE" sz="1200" dirty="0">
                <a:solidFill>
                  <a:schemeClr val="tx1"/>
                </a:solidFill>
                <a:latin typeface="72 Brand" panose="020B0504030603020204" pitchFamily="34" charset="0"/>
              </a:rPr>
              <a:t>Email michelle.ulmer@epiuse.com</a:t>
            </a:r>
          </a:p>
        </p:txBody>
      </p:sp>
      <p:pic>
        <p:nvPicPr>
          <p:cNvPr id="8" name="Picture 7" descr="A blue and red logo&#10;&#10;AI-generated content may be incorrect.">
            <a:extLst>
              <a:ext uri="{FF2B5EF4-FFF2-40B4-BE49-F238E27FC236}">
                <a16:creationId xmlns:a16="http://schemas.microsoft.com/office/drawing/2014/main" id="{7F29B05B-2834-EC17-982C-734820504C40}"/>
              </a:ext>
            </a:extLst>
          </p:cNvPr>
          <p:cNvPicPr>
            <a:picLocks noChangeAspect="1"/>
          </p:cNvPicPr>
          <p:nvPr/>
        </p:nvPicPr>
        <p:blipFill>
          <a:blip r:embed="rId8"/>
          <a:stretch>
            <a:fillRect/>
          </a:stretch>
        </p:blipFill>
        <p:spPr>
          <a:xfrm>
            <a:off x="10597939" y="330960"/>
            <a:ext cx="1363888" cy="421510"/>
          </a:xfrm>
          <a:prstGeom prst="rect">
            <a:avLst/>
          </a:prstGeom>
        </p:spPr>
      </p:pic>
    </p:spTree>
    <p:custDataLst>
      <p:custData r:id="rId1"/>
      <p:custData r:id="rId2"/>
    </p:custDataLst>
    <p:extLst>
      <p:ext uri="{BB962C8B-B14F-4D97-AF65-F5344CB8AC3E}">
        <p14:creationId xmlns:p14="http://schemas.microsoft.com/office/powerpoint/2010/main" val="4060872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560300-592E-4FEF-3FCD-A24C15FA904F}"/>
            </a:ext>
          </a:extLst>
        </p:cNvPr>
        <p:cNvGrpSpPr/>
        <p:nvPr/>
      </p:nvGrpSpPr>
      <p:grpSpPr>
        <a:xfrm>
          <a:off x="0" y="0"/>
          <a:ext cx="0" cy="0"/>
          <a:chOff x="0" y="0"/>
          <a:chExt cx="0" cy="0"/>
        </a:xfrm>
      </p:grpSpPr>
      <p:graphicFrame>
        <p:nvGraphicFramePr>
          <p:cNvPr id="39" name="think-cell data - do not delete" hidden="1">
            <a:extLst>
              <a:ext uri="{FF2B5EF4-FFF2-40B4-BE49-F238E27FC236}">
                <a16:creationId xmlns:a16="http://schemas.microsoft.com/office/drawing/2014/main" id="{07A6FDBA-426F-B388-98ED-4E2C0266018A}"/>
              </a:ext>
            </a:extLst>
          </p:cNvPr>
          <p:cNvGraphicFramePr>
            <a:graphicFrameLocks noChangeAspect="1"/>
          </p:cNvGraphicFramePr>
          <p:nvPr>
            <p:custDataLst>
              <p:tags r:id="rId1"/>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9" name="think-cell data - do not delete" hidden="1">
                        <a:extLst>
                          <a:ext uri="{FF2B5EF4-FFF2-40B4-BE49-F238E27FC236}">
                            <a16:creationId xmlns:a16="http://schemas.microsoft.com/office/drawing/2014/main" id="{07A6FDBA-426F-B388-98ED-4E2C0266018A}"/>
                          </a:ext>
                        </a:extLst>
                      </p:cNvPr>
                      <p:cNvPicPr/>
                      <p:nvPr/>
                    </p:nvPicPr>
                    <p:blipFill>
                      <a:blip r:embed="rId5"/>
                      <a:stretch>
                        <a:fillRect/>
                      </a:stretch>
                    </p:blipFill>
                    <p:spPr>
                      <a:xfrm>
                        <a:off x="4763" y="1588"/>
                        <a:ext cx="1588"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88F2D5B0-6787-3339-A4CD-14C4301F6B82}"/>
              </a:ext>
            </a:extLst>
          </p:cNvPr>
          <p:cNvGrpSpPr/>
          <p:nvPr/>
        </p:nvGrpSpPr>
        <p:grpSpPr>
          <a:xfrm>
            <a:off x="5042176" y="3690676"/>
            <a:ext cx="565154" cy="329892"/>
            <a:chOff x="4844635" y="3456357"/>
            <a:chExt cx="630741" cy="368182"/>
          </a:xfrm>
        </p:grpSpPr>
        <p:sp>
          <p:nvSpPr>
            <p:cNvPr id="2" name="Freeform: Shape 1144">
              <a:extLst>
                <a:ext uri="{FF2B5EF4-FFF2-40B4-BE49-F238E27FC236}">
                  <a16:creationId xmlns:a16="http://schemas.microsoft.com/office/drawing/2014/main" id="{181AD224-5E04-5686-AC99-712FB16D75AD}"/>
                </a:ext>
              </a:extLst>
            </p:cNvPr>
            <p:cNvSpPr/>
            <p:nvPr/>
          </p:nvSpPr>
          <p:spPr>
            <a:xfrm>
              <a:off x="4991514" y="3456357"/>
              <a:ext cx="58912" cy="76648"/>
            </a:xfrm>
            <a:custGeom>
              <a:avLst/>
              <a:gdLst>
                <a:gd name="connsiteX0" fmla="*/ 0 w 82554"/>
                <a:gd name="connsiteY0" fmla="*/ 0 h 107408"/>
                <a:gd name="connsiteX1" fmla="*/ 14488 w 82554"/>
                <a:gd name="connsiteY1" fmla="*/ 0 h 107408"/>
                <a:gd name="connsiteX2" fmla="*/ 14488 w 82554"/>
                <a:gd name="connsiteY2" fmla="*/ 44712 h 107408"/>
                <a:gd name="connsiteX3" fmla="*/ 68067 w 82554"/>
                <a:gd name="connsiteY3" fmla="*/ 44712 h 107408"/>
                <a:gd name="connsiteX4" fmla="*/ 68067 w 82554"/>
                <a:gd name="connsiteY4" fmla="*/ 0 h 107408"/>
                <a:gd name="connsiteX5" fmla="*/ 82554 w 82554"/>
                <a:gd name="connsiteY5" fmla="*/ 0 h 107408"/>
                <a:gd name="connsiteX6" fmla="*/ 82554 w 82554"/>
                <a:gd name="connsiteY6" fmla="*/ 107408 h 107408"/>
                <a:gd name="connsiteX7" fmla="*/ 68067 w 82554"/>
                <a:gd name="connsiteY7" fmla="*/ 107408 h 107408"/>
                <a:gd name="connsiteX8" fmla="*/ 68067 w 82554"/>
                <a:gd name="connsiteY8" fmla="*/ 58450 h 107408"/>
                <a:gd name="connsiteX9" fmla="*/ 14488 w 82554"/>
                <a:gd name="connsiteY9" fmla="*/ 58450 h 107408"/>
                <a:gd name="connsiteX10" fmla="*/ 14488 w 82554"/>
                <a:gd name="connsiteY10" fmla="*/ 107408 h 107408"/>
                <a:gd name="connsiteX11" fmla="*/ 0 w 82554"/>
                <a:gd name="connsiteY11" fmla="*/ 107408 h 107408"/>
                <a:gd name="connsiteX12" fmla="*/ 0 w 82554"/>
                <a:gd name="connsiteY12" fmla="*/ 0 h 10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554" h="107408">
                  <a:moveTo>
                    <a:pt x="0" y="0"/>
                  </a:moveTo>
                  <a:lnTo>
                    <a:pt x="14488" y="0"/>
                  </a:lnTo>
                  <a:lnTo>
                    <a:pt x="14488" y="44712"/>
                  </a:lnTo>
                  <a:lnTo>
                    <a:pt x="68067" y="44712"/>
                  </a:lnTo>
                  <a:lnTo>
                    <a:pt x="68067" y="0"/>
                  </a:lnTo>
                  <a:lnTo>
                    <a:pt x="82554" y="0"/>
                  </a:lnTo>
                  <a:lnTo>
                    <a:pt x="82554" y="107408"/>
                  </a:lnTo>
                  <a:lnTo>
                    <a:pt x="68067" y="107408"/>
                  </a:lnTo>
                  <a:lnTo>
                    <a:pt x="68067" y="58450"/>
                  </a:lnTo>
                  <a:lnTo>
                    <a:pt x="14488" y="58450"/>
                  </a:lnTo>
                  <a:lnTo>
                    <a:pt x="14488" y="107408"/>
                  </a:lnTo>
                  <a:lnTo>
                    <a:pt x="0" y="107408"/>
                  </a:lnTo>
                  <a:lnTo>
                    <a:pt x="0" y="0"/>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3" name="Freeform: Shape 1145">
              <a:extLst>
                <a:ext uri="{FF2B5EF4-FFF2-40B4-BE49-F238E27FC236}">
                  <a16:creationId xmlns:a16="http://schemas.microsoft.com/office/drawing/2014/main" id="{FD9B8545-106B-BE8A-8D26-E970B2F33114}"/>
                </a:ext>
              </a:extLst>
            </p:cNvPr>
            <p:cNvSpPr/>
            <p:nvPr/>
          </p:nvSpPr>
          <p:spPr>
            <a:xfrm>
              <a:off x="5066736" y="3474272"/>
              <a:ext cx="46968" cy="59982"/>
            </a:xfrm>
            <a:custGeom>
              <a:avLst/>
              <a:gdLst>
                <a:gd name="connsiteX0" fmla="*/ 11490 w 65818"/>
                <a:gd name="connsiteY0" fmla="*/ 80306 h 84053"/>
                <a:gd name="connsiteX1" fmla="*/ 2872 w 65818"/>
                <a:gd name="connsiteY1" fmla="*/ 70190 h 84053"/>
                <a:gd name="connsiteX2" fmla="*/ 0 w 65818"/>
                <a:gd name="connsiteY2" fmla="*/ 54953 h 84053"/>
                <a:gd name="connsiteX3" fmla="*/ 0 w 65818"/>
                <a:gd name="connsiteY3" fmla="*/ 0 h 84053"/>
                <a:gd name="connsiteX4" fmla="*/ 13738 w 65818"/>
                <a:gd name="connsiteY4" fmla="*/ 0 h 84053"/>
                <a:gd name="connsiteX5" fmla="*/ 13738 w 65818"/>
                <a:gd name="connsiteY5" fmla="*/ 52330 h 84053"/>
                <a:gd name="connsiteX6" fmla="*/ 17735 w 65818"/>
                <a:gd name="connsiteY6" fmla="*/ 66818 h 84053"/>
                <a:gd name="connsiteX7" fmla="*/ 30849 w 65818"/>
                <a:gd name="connsiteY7" fmla="*/ 71814 h 84053"/>
                <a:gd name="connsiteX8" fmla="*/ 42089 w 65818"/>
                <a:gd name="connsiteY8" fmla="*/ 68941 h 84053"/>
                <a:gd name="connsiteX9" fmla="*/ 49458 w 65818"/>
                <a:gd name="connsiteY9" fmla="*/ 60698 h 84053"/>
                <a:gd name="connsiteX10" fmla="*/ 52080 w 65818"/>
                <a:gd name="connsiteY10" fmla="*/ 47709 h 84053"/>
                <a:gd name="connsiteX11" fmla="*/ 52080 w 65818"/>
                <a:gd name="connsiteY11" fmla="*/ 0 h 84053"/>
                <a:gd name="connsiteX12" fmla="*/ 65819 w 65818"/>
                <a:gd name="connsiteY12" fmla="*/ 0 h 84053"/>
                <a:gd name="connsiteX13" fmla="*/ 65819 w 65818"/>
                <a:gd name="connsiteY13" fmla="*/ 82430 h 84053"/>
                <a:gd name="connsiteX14" fmla="*/ 52705 w 65818"/>
                <a:gd name="connsiteY14" fmla="*/ 82430 h 84053"/>
                <a:gd name="connsiteX15" fmla="*/ 52705 w 65818"/>
                <a:gd name="connsiteY15" fmla="*/ 65319 h 84053"/>
                <a:gd name="connsiteX16" fmla="*/ 52455 w 65818"/>
                <a:gd name="connsiteY16" fmla="*/ 65319 h 84053"/>
                <a:gd name="connsiteX17" fmla="*/ 25728 w 65818"/>
                <a:gd name="connsiteY17" fmla="*/ 84053 h 84053"/>
                <a:gd name="connsiteX18" fmla="*/ 11490 w 65818"/>
                <a:gd name="connsiteY18" fmla="*/ 80431 h 8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818" h="84053">
                  <a:moveTo>
                    <a:pt x="11490" y="80306"/>
                  </a:moveTo>
                  <a:cubicBezTo>
                    <a:pt x="7618" y="77933"/>
                    <a:pt x="4746" y="74561"/>
                    <a:pt x="2872" y="70190"/>
                  </a:cubicBezTo>
                  <a:cubicBezTo>
                    <a:pt x="999" y="65819"/>
                    <a:pt x="0" y="60698"/>
                    <a:pt x="0" y="54953"/>
                  </a:cubicBezTo>
                  <a:lnTo>
                    <a:pt x="0" y="0"/>
                  </a:lnTo>
                  <a:lnTo>
                    <a:pt x="13738" y="0"/>
                  </a:lnTo>
                  <a:lnTo>
                    <a:pt x="13738" y="52330"/>
                  </a:lnTo>
                  <a:cubicBezTo>
                    <a:pt x="13738" y="58575"/>
                    <a:pt x="15112" y="63446"/>
                    <a:pt x="17735" y="66818"/>
                  </a:cubicBezTo>
                  <a:cubicBezTo>
                    <a:pt x="20357" y="70190"/>
                    <a:pt x="24729" y="71814"/>
                    <a:pt x="30849" y="71814"/>
                  </a:cubicBezTo>
                  <a:cubicBezTo>
                    <a:pt x="35220" y="71814"/>
                    <a:pt x="38967" y="70814"/>
                    <a:pt x="42089" y="68941"/>
                  </a:cubicBezTo>
                  <a:cubicBezTo>
                    <a:pt x="45336" y="67068"/>
                    <a:pt x="47709" y="64320"/>
                    <a:pt x="49458" y="60698"/>
                  </a:cubicBezTo>
                  <a:cubicBezTo>
                    <a:pt x="51206" y="57076"/>
                    <a:pt x="52080" y="52705"/>
                    <a:pt x="52080" y="47709"/>
                  </a:cubicBezTo>
                  <a:lnTo>
                    <a:pt x="52080" y="0"/>
                  </a:lnTo>
                  <a:lnTo>
                    <a:pt x="65819" y="0"/>
                  </a:lnTo>
                  <a:lnTo>
                    <a:pt x="65819" y="82430"/>
                  </a:lnTo>
                  <a:lnTo>
                    <a:pt x="52705" y="82430"/>
                  </a:lnTo>
                  <a:lnTo>
                    <a:pt x="52705" y="65319"/>
                  </a:lnTo>
                  <a:lnTo>
                    <a:pt x="52455" y="65319"/>
                  </a:lnTo>
                  <a:cubicBezTo>
                    <a:pt x="47709" y="77808"/>
                    <a:pt x="38842" y="84053"/>
                    <a:pt x="25728" y="84053"/>
                  </a:cubicBezTo>
                  <a:cubicBezTo>
                    <a:pt x="19983" y="84053"/>
                    <a:pt x="15237" y="82804"/>
                    <a:pt x="11490" y="80431"/>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4" name="Freeform: Shape 1146">
              <a:extLst>
                <a:ext uri="{FF2B5EF4-FFF2-40B4-BE49-F238E27FC236}">
                  <a16:creationId xmlns:a16="http://schemas.microsoft.com/office/drawing/2014/main" id="{41FC610C-B9AF-7CB6-091D-FA9AD1501925}"/>
                </a:ext>
              </a:extLst>
            </p:cNvPr>
            <p:cNvSpPr/>
            <p:nvPr/>
          </p:nvSpPr>
          <p:spPr>
            <a:xfrm>
              <a:off x="5128767" y="3473024"/>
              <a:ext cx="78073" cy="60160"/>
            </a:xfrm>
            <a:custGeom>
              <a:avLst/>
              <a:gdLst>
                <a:gd name="connsiteX0" fmla="*/ 250 w 109406"/>
                <a:gd name="connsiteY0" fmla="*/ 1624 h 84302"/>
                <a:gd name="connsiteX1" fmla="*/ 13364 w 109406"/>
                <a:gd name="connsiteY1" fmla="*/ 1624 h 84302"/>
                <a:gd name="connsiteX2" fmla="*/ 13364 w 109406"/>
                <a:gd name="connsiteY2" fmla="*/ 18734 h 84302"/>
                <a:gd name="connsiteX3" fmla="*/ 13613 w 109406"/>
                <a:gd name="connsiteY3" fmla="*/ 18734 h 84302"/>
                <a:gd name="connsiteX4" fmla="*/ 22855 w 109406"/>
                <a:gd name="connsiteY4" fmla="*/ 4871 h 84302"/>
                <a:gd name="connsiteX5" fmla="*/ 37718 w 109406"/>
                <a:gd name="connsiteY5" fmla="*/ 0 h 84302"/>
                <a:gd name="connsiteX6" fmla="*/ 52205 w 109406"/>
                <a:gd name="connsiteY6" fmla="*/ 4746 h 84302"/>
                <a:gd name="connsiteX7" fmla="*/ 60199 w 109406"/>
                <a:gd name="connsiteY7" fmla="*/ 18859 h 84302"/>
                <a:gd name="connsiteX8" fmla="*/ 60448 w 109406"/>
                <a:gd name="connsiteY8" fmla="*/ 18859 h 84302"/>
                <a:gd name="connsiteX9" fmla="*/ 65944 w 109406"/>
                <a:gd name="connsiteY9" fmla="*/ 8368 h 84302"/>
                <a:gd name="connsiteX10" fmla="*/ 74561 w 109406"/>
                <a:gd name="connsiteY10" fmla="*/ 2123 h 84302"/>
                <a:gd name="connsiteX11" fmla="*/ 85302 w 109406"/>
                <a:gd name="connsiteY11" fmla="*/ 125 h 84302"/>
                <a:gd name="connsiteX12" fmla="*/ 103287 w 109406"/>
                <a:gd name="connsiteY12" fmla="*/ 7119 h 84302"/>
                <a:gd name="connsiteX13" fmla="*/ 109407 w 109406"/>
                <a:gd name="connsiteY13" fmla="*/ 29100 h 84302"/>
                <a:gd name="connsiteX14" fmla="*/ 109407 w 109406"/>
                <a:gd name="connsiteY14" fmla="*/ 84053 h 84302"/>
                <a:gd name="connsiteX15" fmla="*/ 95668 w 109406"/>
                <a:gd name="connsiteY15" fmla="*/ 84053 h 84302"/>
                <a:gd name="connsiteX16" fmla="*/ 95668 w 109406"/>
                <a:gd name="connsiteY16" fmla="*/ 31723 h 84302"/>
                <a:gd name="connsiteX17" fmla="*/ 92171 w 109406"/>
                <a:gd name="connsiteY17" fmla="*/ 17235 h 84302"/>
                <a:gd name="connsiteX18" fmla="*/ 80806 w 109406"/>
                <a:gd name="connsiteY18" fmla="*/ 12240 h 84302"/>
                <a:gd name="connsiteX19" fmla="*/ 70565 w 109406"/>
                <a:gd name="connsiteY19" fmla="*/ 15112 h 84302"/>
                <a:gd name="connsiteX20" fmla="*/ 63945 w 109406"/>
                <a:gd name="connsiteY20" fmla="*/ 23355 h 84302"/>
                <a:gd name="connsiteX21" fmla="*/ 61572 w 109406"/>
                <a:gd name="connsiteY21" fmla="*/ 36344 h 84302"/>
                <a:gd name="connsiteX22" fmla="*/ 61572 w 109406"/>
                <a:gd name="connsiteY22" fmla="*/ 84178 h 84302"/>
                <a:gd name="connsiteX23" fmla="*/ 47834 w 109406"/>
                <a:gd name="connsiteY23" fmla="*/ 84178 h 84302"/>
                <a:gd name="connsiteX24" fmla="*/ 47834 w 109406"/>
                <a:gd name="connsiteY24" fmla="*/ 31848 h 84302"/>
                <a:gd name="connsiteX25" fmla="*/ 44337 w 109406"/>
                <a:gd name="connsiteY25" fmla="*/ 17360 h 84302"/>
                <a:gd name="connsiteX26" fmla="*/ 32847 w 109406"/>
                <a:gd name="connsiteY26" fmla="*/ 12364 h 84302"/>
                <a:gd name="connsiteX27" fmla="*/ 22731 w 109406"/>
                <a:gd name="connsiteY27" fmla="*/ 15237 h 84302"/>
                <a:gd name="connsiteX28" fmla="*/ 16111 w 109406"/>
                <a:gd name="connsiteY28" fmla="*/ 23480 h 84302"/>
                <a:gd name="connsiteX29" fmla="*/ 13738 w 109406"/>
                <a:gd name="connsiteY29" fmla="*/ 36469 h 84302"/>
                <a:gd name="connsiteX30" fmla="*/ 13738 w 109406"/>
                <a:gd name="connsiteY30" fmla="*/ 84303 h 84302"/>
                <a:gd name="connsiteX31" fmla="*/ 0 w 109406"/>
                <a:gd name="connsiteY31" fmla="*/ 84303 h 84302"/>
                <a:gd name="connsiteX32" fmla="*/ 0 w 109406"/>
                <a:gd name="connsiteY32" fmla="*/ 1873 h 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9406" h="84302">
                  <a:moveTo>
                    <a:pt x="250" y="1624"/>
                  </a:moveTo>
                  <a:lnTo>
                    <a:pt x="13364" y="1624"/>
                  </a:lnTo>
                  <a:lnTo>
                    <a:pt x="13364" y="18734"/>
                  </a:lnTo>
                  <a:lnTo>
                    <a:pt x="13613" y="18734"/>
                  </a:lnTo>
                  <a:cubicBezTo>
                    <a:pt x="15612" y="12739"/>
                    <a:pt x="18734" y="8118"/>
                    <a:pt x="22855" y="4871"/>
                  </a:cubicBezTo>
                  <a:cubicBezTo>
                    <a:pt x="26977" y="1624"/>
                    <a:pt x="31973" y="0"/>
                    <a:pt x="37718" y="0"/>
                  </a:cubicBezTo>
                  <a:cubicBezTo>
                    <a:pt x="43463" y="0"/>
                    <a:pt x="48209" y="1499"/>
                    <a:pt x="52205" y="4746"/>
                  </a:cubicBezTo>
                  <a:cubicBezTo>
                    <a:pt x="56202" y="7868"/>
                    <a:pt x="58825" y="12614"/>
                    <a:pt x="60199" y="18859"/>
                  </a:cubicBezTo>
                  <a:lnTo>
                    <a:pt x="60448" y="18859"/>
                  </a:lnTo>
                  <a:cubicBezTo>
                    <a:pt x="61697" y="14613"/>
                    <a:pt x="63446" y="11115"/>
                    <a:pt x="65944" y="8368"/>
                  </a:cubicBezTo>
                  <a:cubicBezTo>
                    <a:pt x="68442" y="5620"/>
                    <a:pt x="71314" y="3497"/>
                    <a:pt x="74561" y="2123"/>
                  </a:cubicBezTo>
                  <a:cubicBezTo>
                    <a:pt x="77933" y="749"/>
                    <a:pt x="81430" y="125"/>
                    <a:pt x="85302" y="125"/>
                  </a:cubicBezTo>
                  <a:cubicBezTo>
                    <a:pt x="93170" y="125"/>
                    <a:pt x="99290" y="2498"/>
                    <a:pt x="103287" y="7119"/>
                  </a:cubicBezTo>
                  <a:cubicBezTo>
                    <a:pt x="107408" y="11740"/>
                    <a:pt x="109407" y="19109"/>
                    <a:pt x="109407" y="29100"/>
                  </a:cubicBezTo>
                  <a:lnTo>
                    <a:pt x="109407" y="84053"/>
                  </a:lnTo>
                  <a:lnTo>
                    <a:pt x="95668" y="84053"/>
                  </a:lnTo>
                  <a:lnTo>
                    <a:pt x="95668" y="31723"/>
                  </a:lnTo>
                  <a:cubicBezTo>
                    <a:pt x="95668" y="25353"/>
                    <a:pt x="94544" y="20482"/>
                    <a:pt x="92171" y="17235"/>
                  </a:cubicBezTo>
                  <a:cubicBezTo>
                    <a:pt x="89798" y="13988"/>
                    <a:pt x="86051" y="12240"/>
                    <a:pt x="80806" y="12240"/>
                  </a:cubicBezTo>
                  <a:cubicBezTo>
                    <a:pt x="76934" y="12240"/>
                    <a:pt x="73437" y="13239"/>
                    <a:pt x="70565" y="15112"/>
                  </a:cubicBezTo>
                  <a:cubicBezTo>
                    <a:pt x="67692" y="16985"/>
                    <a:pt x="65444" y="19733"/>
                    <a:pt x="63945" y="23355"/>
                  </a:cubicBezTo>
                  <a:cubicBezTo>
                    <a:pt x="62447" y="26977"/>
                    <a:pt x="61572" y="31223"/>
                    <a:pt x="61572" y="36344"/>
                  </a:cubicBezTo>
                  <a:lnTo>
                    <a:pt x="61572" y="84178"/>
                  </a:lnTo>
                  <a:lnTo>
                    <a:pt x="47834" y="84178"/>
                  </a:lnTo>
                  <a:lnTo>
                    <a:pt x="47834" y="31848"/>
                  </a:lnTo>
                  <a:cubicBezTo>
                    <a:pt x="47834" y="25478"/>
                    <a:pt x="46710" y="20607"/>
                    <a:pt x="44337" y="17360"/>
                  </a:cubicBezTo>
                  <a:cubicBezTo>
                    <a:pt x="42089" y="13988"/>
                    <a:pt x="38217" y="12364"/>
                    <a:pt x="32847" y="12364"/>
                  </a:cubicBezTo>
                  <a:cubicBezTo>
                    <a:pt x="28975" y="12364"/>
                    <a:pt x="25603" y="13364"/>
                    <a:pt x="22731" y="15237"/>
                  </a:cubicBezTo>
                  <a:cubicBezTo>
                    <a:pt x="19858" y="17110"/>
                    <a:pt x="17610" y="19858"/>
                    <a:pt x="16111" y="23480"/>
                  </a:cubicBezTo>
                  <a:cubicBezTo>
                    <a:pt x="14488" y="27102"/>
                    <a:pt x="13738" y="31348"/>
                    <a:pt x="13738" y="36469"/>
                  </a:cubicBezTo>
                  <a:lnTo>
                    <a:pt x="13738" y="84303"/>
                  </a:lnTo>
                  <a:lnTo>
                    <a:pt x="0" y="84303"/>
                  </a:lnTo>
                  <a:lnTo>
                    <a:pt x="0" y="1873"/>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5" name="Freeform: Shape 1147">
              <a:extLst>
                <a:ext uri="{FF2B5EF4-FFF2-40B4-BE49-F238E27FC236}">
                  <a16:creationId xmlns:a16="http://schemas.microsoft.com/office/drawing/2014/main" id="{23ECE0F3-F73F-B0F9-1D04-337B9908C4CF}"/>
                </a:ext>
              </a:extLst>
            </p:cNvPr>
            <p:cNvSpPr/>
            <p:nvPr/>
          </p:nvSpPr>
          <p:spPr>
            <a:xfrm>
              <a:off x="5218694" y="3473203"/>
              <a:ext cx="47058" cy="61051"/>
            </a:xfrm>
            <a:custGeom>
              <a:avLst/>
              <a:gdLst>
                <a:gd name="connsiteX0" fmla="*/ 12115 w 65943"/>
                <a:gd name="connsiteY0" fmla="*/ 82554 h 85551"/>
                <a:gd name="connsiteX1" fmla="*/ 3247 w 65943"/>
                <a:gd name="connsiteY1" fmla="*/ 74311 h 85551"/>
                <a:gd name="connsiteX2" fmla="*/ 0 w 65943"/>
                <a:gd name="connsiteY2" fmla="*/ 61323 h 85551"/>
                <a:gd name="connsiteX3" fmla="*/ 4871 w 65943"/>
                <a:gd name="connsiteY3" fmla="*/ 46210 h 85551"/>
                <a:gd name="connsiteX4" fmla="*/ 18110 w 65943"/>
                <a:gd name="connsiteY4" fmla="*/ 37593 h 85551"/>
                <a:gd name="connsiteX5" fmla="*/ 37593 w 65943"/>
                <a:gd name="connsiteY5" fmla="*/ 34845 h 85551"/>
                <a:gd name="connsiteX6" fmla="*/ 52205 w 65943"/>
                <a:gd name="connsiteY6" fmla="*/ 34845 h 85551"/>
                <a:gd name="connsiteX7" fmla="*/ 52205 w 65943"/>
                <a:gd name="connsiteY7" fmla="*/ 29225 h 85551"/>
                <a:gd name="connsiteX8" fmla="*/ 48084 w 65943"/>
                <a:gd name="connsiteY8" fmla="*/ 15986 h 85551"/>
                <a:gd name="connsiteX9" fmla="*/ 35595 w 65943"/>
                <a:gd name="connsiteY9" fmla="*/ 11490 h 85551"/>
                <a:gd name="connsiteX10" fmla="*/ 22231 w 65943"/>
                <a:gd name="connsiteY10" fmla="*/ 14613 h 85551"/>
                <a:gd name="connsiteX11" fmla="*/ 12240 w 65943"/>
                <a:gd name="connsiteY11" fmla="*/ 23605 h 85551"/>
                <a:gd name="connsiteX12" fmla="*/ 3372 w 65943"/>
                <a:gd name="connsiteY12" fmla="*/ 14737 h 85551"/>
                <a:gd name="connsiteX13" fmla="*/ 36469 w 65943"/>
                <a:gd name="connsiteY13" fmla="*/ 0 h 85551"/>
                <a:gd name="connsiteX14" fmla="*/ 52580 w 65943"/>
                <a:gd name="connsiteY14" fmla="*/ 3622 h 85551"/>
                <a:gd name="connsiteX15" fmla="*/ 62572 w 65943"/>
                <a:gd name="connsiteY15" fmla="*/ 13863 h 85551"/>
                <a:gd name="connsiteX16" fmla="*/ 65944 w 65943"/>
                <a:gd name="connsiteY16" fmla="*/ 29350 h 85551"/>
                <a:gd name="connsiteX17" fmla="*/ 65944 w 65943"/>
                <a:gd name="connsiteY17" fmla="*/ 84053 h 85551"/>
                <a:gd name="connsiteX18" fmla="*/ 52830 w 65943"/>
                <a:gd name="connsiteY18" fmla="*/ 84053 h 85551"/>
                <a:gd name="connsiteX19" fmla="*/ 52830 w 65943"/>
                <a:gd name="connsiteY19" fmla="*/ 68691 h 85551"/>
                <a:gd name="connsiteX20" fmla="*/ 52580 w 65943"/>
                <a:gd name="connsiteY20" fmla="*/ 68691 h 85551"/>
                <a:gd name="connsiteX21" fmla="*/ 41964 w 65943"/>
                <a:gd name="connsiteY21" fmla="*/ 81555 h 85551"/>
                <a:gd name="connsiteX22" fmla="*/ 25353 w 65943"/>
                <a:gd name="connsiteY22" fmla="*/ 85552 h 85551"/>
                <a:gd name="connsiteX23" fmla="*/ 12364 w 65943"/>
                <a:gd name="connsiteY23" fmla="*/ 82679 h 85551"/>
                <a:gd name="connsiteX24" fmla="*/ 15986 w 65943"/>
                <a:gd name="connsiteY24" fmla="*/ 67817 h 85551"/>
                <a:gd name="connsiteX25" fmla="*/ 21107 w 65943"/>
                <a:gd name="connsiteY25" fmla="*/ 72313 h 85551"/>
                <a:gd name="connsiteX26" fmla="*/ 28975 w 65943"/>
                <a:gd name="connsiteY26" fmla="*/ 73812 h 85551"/>
                <a:gd name="connsiteX27" fmla="*/ 41465 w 65943"/>
                <a:gd name="connsiteY27" fmla="*/ 70939 h 85551"/>
                <a:gd name="connsiteX28" fmla="*/ 49458 w 65943"/>
                <a:gd name="connsiteY28" fmla="*/ 63196 h 85551"/>
                <a:gd name="connsiteX29" fmla="*/ 52205 w 65943"/>
                <a:gd name="connsiteY29" fmla="*/ 53080 h 85551"/>
                <a:gd name="connsiteX30" fmla="*/ 52205 w 65943"/>
                <a:gd name="connsiteY30" fmla="*/ 45086 h 85551"/>
                <a:gd name="connsiteX31" fmla="*/ 39341 w 65943"/>
                <a:gd name="connsiteY31" fmla="*/ 45086 h 85551"/>
                <a:gd name="connsiteX32" fmla="*/ 21107 w 65943"/>
                <a:gd name="connsiteY32" fmla="*/ 48583 h 85551"/>
                <a:gd name="connsiteX33" fmla="*/ 14238 w 65943"/>
                <a:gd name="connsiteY33" fmla="*/ 61073 h 85551"/>
                <a:gd name="connsiteX34" fmla="*/ 15986 w 65943"/>
                <a:gd name="connsiteY34" fmla="*/ 67817 h 8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943" h="85551">
                  <a:moveTo>
                    <a:pt x="12115" y="82554"/>
                  </a:moveTo>
                  <a:cubicBezTo>
                    <a:pt x="8368" y="80681"/>
                    <a:pt x="5370" y="77933"/>
                    <a:pt x="3247" y="74311"/>
                  </a:cubicBezTo>
                  <a:cubicBezTo>
                    <a:pt x="1124" y="70690"/>
                    <a:pt x="0" y="66443"/>
                    <a:pt x="0" y="61323"/>
                  </a:cubicBezTo>
                  <a:cubicBezTo>
                    <a:pt x="0" y="55203"/>
                    <a:pt x="1624" y="50082"/>
                    <a:pt x="4871" y="46210"/>
                  </a:cubicBezTo>
                  <a:cubicBezTo>
                    <a:pt x="8118" y="42214"/>
                    <a:pt x="12489" y="39341"/>
                    <a:pt x="18110" y="37593"/>
                  </a:cubicBezTo>
                  <a:cubicBezTo>
                    <a:pt x="23730" y="35844"/>
                    <a:pt x="30224" y="34845"/>
                    <a:pt x="37593" y="34845"/>
                  </a:cubicBezTo>
                  <a:lnTo>
                    <a:pt x="52205" y="34845"/>
                  </a:lnTo>
                  <a:lnTo>
                    <a:pt x="52205" y="29225"/>
                  </a:lnTo>
                  <a:cubicBezTo>
                    <a:pt x="52205" y="23480"/>
                    <a:pt x="50832" y="18984"/>
                    <a:pt x="48084" y="15986"/>
                  </a:cubicBezTo>
                  <a:cubicBezTo>
                    <a:pt x="45336" y="12989"/>
                    <a:pt x="41090" y="11490"/>
                    <a:pt x="35595" y="11490"/>
                  </a:cubicBezTo>
                  <a:cubicBezTo>
                    <a:pt x="30474" y="11490"/>
                    <a:pt x="26103" y="12489"/>
                    <a:pt x="22231" y="14613"/>
                  </a:cubicBezTo>
                  <a:cubicBezTo>
                    <a:pt x="18484" y="16736"/>
                    <a:pt x="15112" y="19608"/>
                    <a:pt x="12240" y="23605"/>
                  </a:cubicBezTo>
                  <a:lnTo>
                    <a:pt x="3372" y="14737"/>
                  </a:lnTo>
                  <a:cubicBezTo>
                    <a:pt x="11615" y="4871"/>
                    <a:pt x="22606" y="0"/>
                    <a:pt x="36469" y="0"/>
                  </a:cubicBezTo>
                  <a:cubicBezTo>
                    <a:pt x="42838" y="0"/>
                    <a:pt x="48209" y="1249"/>
                    <a:pt x="52580" y="3622"/>
                  </a:cubicBezTo>
                  <a:cubicBezTo>
                    <a:pt x="56951" y="6120"/>
                    <a:pt x="60323" y="9492"/>
                    <a:pt x="62572" y="13863"/>
                  </a:cubicBezTo>
                  <a:cubicBezTo>
                    <a:pt x="64820" y="18234"/>
                    <a:pt x="65944" y="23355"/>
                    <a:pt x="65944" y="29350"/>
                  </a:cubicBezTo>
                  <a:lnTo>
                    <a:pt x="65944" y="84053"/>
                  </a:lnTo>
                  <a:lnTo>
                    <a:pt x="52830" y="84053"/>
                  </a:lnTo>
                  <a:lnTo>
                    <a:pt x="52830" y="68691"/>
                  </a:lnTo>
                  <a:lnTo>
                    <a:pt x="52580" y="68691"/>
                  </a:lnTo>
                  <a:cubicBezTo>
                    <a:pt x="49832" y="74561"/>
                    <a:pt x="46335" y="78808"/>
                    <a:pt x="41964" y="81555"/>
                  </a:cubicBezTo>
                  <a:cubicBezTo>
                    <a:pt x="37593" y="84303"/>
                    <a:pt x="32098" y="85552"/>
                    <a:pt x="25353" y="85552"/>
                  </a:cubicBezTo>
                  <a:cubicBezTo>
                    <a:pt x="20483" y="85552"/>
                    <a:pt x="16111" y="84553"/>
                    <a:pt x="12364" y="82679"/>
                  </a:cubicBezTo>
                  <a:close/>
                  <a:moveTo>
                    <a:pt x="15986" y="67817"/>
                  </a:moveTo>
                  <a:cubicBezTo>
                    <a:pt x="17110" y="69690"/>
                    <a:pt x="18859" y="71189"/>
                    <a:pt x="21107" y="72313"/>
                  </a:cubicBezTo>
                  <a:cubicBezTo>
                    <a:pt x="23355" y="73312"/>
                    <a:pt x="25978" y="73812"/>
                    <a:pt x="28975" y="73812"/>
                  </a:cubicBezTo>
                  <a:cubicBezTo>
                    <a:pt x="33846" y="73812"/>
                    <a:pt x="37968" y="72813"/>
                    <a:pt x="41465" y="70939"/>
                  </a:cubicBezTo>
                  <a:cubicBezTo>
                    <a:pt x="44962" y="68941"/>
                    <a:pt x="47709" y="66443"/>
                    <a:pt x="49458" y="63196"/>
                  </a:cubicBezTo>
                  <a:cubicBezTo>
                    <a:pt x="51206" y="59949"/>
                    <a:pt x="52205" y="56702"/>
                    <a:pt x="52205" y="53080"/>
                  </a:cubicBezTo>
                  <a:lnTo>
                    <a:pt x="52205" y="45086"/>
                  </a:lnTo>
                  <a:lnTo>
                    <a:pt x="39341" y="45086"/>
                  </a:lnTo>
                  <a:cubicBezTo>
                    <a:pt x="31723" y="45086"/>
                    <a:pt x="25728" y="46210"/>
                    <a:pt x="21107" y="48583"/>
                  </a:cubicBezTo>
                  <a:cubicBezTo>
                    <a:pt x="16486" y="50956"/>
                    <a:pt x="14238" y="55078"/>
                    <a:pt x="14238" y="61073"/>
                  </a:cubicBezTo>
                  <a:cubicBezTo>
                    <a:pt x="14238" y="63696"/>
                    <a:pt x="14862" y="65944"/>
                    <a:pt x="15986" y="67817"/>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8" name="Freeform: Shape 1148">
              <a:extLst>
                <a:ext uri="{FF2B5EF4-FFF2-40B4-BE49-F238E27FC236}">
                  <a16:creationId xmlns:a16="http://schemas.microsoft.com/office/drawing/2014/main" id="{21EA8915-AE09-4932-5DB7-3737B215585C}"/>
                </a:ext>
              </a:extLst>
            </p:cNvPr>
            <p:cNvSpPr/>
            <p:nvPr/>
          </p:nvSpPr>
          <p:spPr>
            <a:xfrm>
              <a:off x="5280370" y="3473024"/>
              <a:ext cx="47058" cy="60071"/>
            </a:xfrm>
            <a:custGeom>
              <a:avLst/>
              <a:gdLst>
                <a:gd name="connsiteX0" fmla="*/ 125 w 65943"/>
                <a:gd name="connsiteY0" fmla="*/ 1624 h 84178"/>
                <a:gd name="connsiteX1" fmla="*/ 13239 w 65943"/>
                <a:gd name="connsiteY1" fmla="*/ 1624 h 84178"/>
                <a:gd name="connsiteX2" fmla="*/ 13239 w 65943"/>
                <a:gd name="connsiteY2" fmla="*/ 18734 h 84178"/>
                <a:gd name="connsiteX3" fmla="*/ 13488 w 65943"/>
                <a:gd name="connsiteY3" fmla="*/ 18734 h 84178"/>
                <a:gd name="connsiteX4" fmla="*/ 22730 w 65943"/>
                <a:gd name="connsiteY4" fmla="*/ 5370 h 84178"/>
                <a:gd name="connsiteX5" fmla="*/ 40216 w 65943"/>
                <a:gd name="connsiteY5" fmla="*/ 0 h 84178"/>
                <a:gd name="connsiteX6" fmla="*/ 54453 w 65943"/>
                <a:gd name="connsiteY6" fmla="*/ 3622 h 84178"/>
                <a:gd name="connsiteX7" fmla="*/ 63071 w 65943"/>
                <a:gd name="connsiteY7" fmla="*/ 13738 h 84178"/>
                <a:gd name="connsiteX8" fmla="*/ 65944 w 65943"/>
                <a:gd name="connsiteY8" fmla="*/ 29100 h 84178"/>
                <a:gd name="connsiteX9" fmla="*/ 65944 w 65943"/>
                <a:gd name="connsiteY9" fmla="*/ 84053 h 84178"/>
                <a:gd name="connsiteX10" fmla="*/ 52205 w 65943"/>
                <a:gd name="connsiteY10" fmla="*/ 84053 h 84178"/>
                <a:gd name="connsiteX11" fmla="*/ 52205 w 65943"/>
                <a:gd name="connsiteY11" fmla="*/ 31723 h 84178"/>
                <a:gd name="connsiteX12" fmla="*/ 48209 w 65943"/>
                <a:gd name="connsiteY12" fmla="*/ 17235 h 84178"/>
                <a:gd name="connsiteX13" fmla="*/ 35220 w 65943"/>
                <a:gd name="connsiteY13" fmla="*/ 12240 h 84178"/>
                <a:gd name="connsiteX14" fmla="*/ 23854 w 65943"/>
                <a:gd name="connsiteY14" fmla="*/ 15112 h 84178"/>
                <a:gd name="connsiteX15" fmla="*/ 16361 w 65943"/>
                <a:gd name="connsiteY15" fmla="*/ 23355 h 84178"/>
                <a:gd name="connsiteX16" fmla="*/ 13738 w 65943"/>
                <a:gd name="connsiteY16" fmla="*/ 36344 h 84178"/>
                <a:gd name="connsiteX17" fmla="*/ 13738 w 65943"/>
                <a:gd name="connsiteY17" fmla="*/ 84178 h 84178"/>
                <a:gd name="connsiteX18" fmla="*/ 0 w 65943"/>
                <a:gd name="connsiteY18" fmla="*/ 84178 h 84178"/>
                <a:gd name="connsiteX19" fmla="*/ 0 w 65943"/>
                <a:gd name="connsiteY19" fmla="*/ 1748 h 8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43" h="84178">
                  <a:moveTo>
                    <a:pt x="125" y="1624"/>
                  </a:moveTo>
                  <a:lnTo>
                    <a:pt x="13239" y="1624"/>
                  </a:lnTo>
                  <a:lnTo>
                    <a:pt x="13239" y="18734"/>
                  </a:lnTo>
                  <a:lnTo>
                    <a:pt x="13488" y="18734"/>
                  </a:lnTo>
                  <a:cubicBezTo>
                    <a:pt x="15487" y="13364"/>
                    <a:pt x="18609" y="8992"/>
                    <a:pt x="22730" y="5370"/>
                  </a:cubicBezTo>
                  <a:cubicBezTo>
                    <a:pt x="26852" y="1748"/>
                    <a:pt x="32722" y="0"/>
                    <a:pt x="40216" y="0"/>
                  </a:cubicBezTo>
                  <a:cubicBezTo>
                    <a:pt x="45961" y="0"/>
                    <a:pt x="50707" y="1249"/>
                    <a:pt x="54453" y="3622"/>
                  </a:cubicBezTo>
                  <a:cubicBezTo>
                    <a:pt x="58325" y="5995"/>
                    <a:pt x="61198" y="9367"/>
                    <a:pt x="63071" y="13738"/>
                  </a:cubicBezTo>
                  <a:cubicBezTo>
                    <a:pt x="64944" y="18110"/>
                    <a:pt x="65944" y="23230"/>
                    <a:pt x="65944" y="29100"/>
                  </a:cubicBezTo>
                  <a:lnTo>
                    <a:pt x="65944" y="84053"/>
                  </a:lnTo>
                  <a:lnTo>
                    <a:pt x="52205" y="84053"/>
                  </a:lnTo>
                  <a:lnTo>
                    <a:pt x="52205" y="31723"/>
                  </a:lnTo>
                  <a:cubicBezTo>
                    <a:pt x="52205" y="25353"/>
                    <a:pt x="50831" y="20482"/>
                    <a:pt x="48209" y="17235"/>
                  </a:cubicBezTo>
                  <a:cubicBezTo>
                    <a:pt x="45586" y="13863"/>
                    <a:pt x="41215" y="12240"/>
                    <a:pt x="35220" y="12240"/>
                  </a:cubicBezTo>
                  <a:cubicBezTo>
                    <a:pt x="30849" y="12240"/>
                    <a:pt x="27102" y="13239"/>
                    <a:pt x="23854" y="15112"/>
                  </a:cubicBezTo>
                  <a:cubicBezTo>
                    <a:pt x="20607" y="16985"/>
                    <a:pt x="18109" y="19733"/>
                    <a:pt x="16361" y="23355"/>
                  </a:cubicBezTo>
                  <a:cubicBezTo>
                    <a:pt x="14612" y="26977"/>
                    <a:pt x="13738" y="31223"/>
                    <a:pt x="13738" y="36344"/>
                  </a:cubicBezTo>
                  <a:lnTo>
                    <a:pt x="13738" y="84178"/>
                  </a:lnTo>
                  <a:lnTo>
                    <a:pt x="0" y="84178"/>
                  </a:lnTo>
                  <a:lnTo>
                    <a:pt x="0" y="1748"/>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9" name="Freeform: Shape 1149">
              <a:extLst>
                <a:ext uri="{FF2B5EF4-FFF2-40B4-BE49-F238E27FC236}">
                  <a16:creationId xmlns:a16="http://schemas.microsoft.com/office/drawing/2014/main" id="{2C9BA97F-E9D1-7904-798C-2865D39A1CA2}"/>
                </a:ext>
              </a:extLst>
            </p:cNvPr>
            <p:cNvSpPr/>
            <p:nvPr/>
          </p:nvSpPr>
          <p:spPr>
            <a:xfrm>
              <a:off x="4996238" y="3606802"/>
              <a:ext cx="51157" cy="60962"/>
            </a:xfrm>
            <a:custGeom>
              <a:avLst/>
              <a:gdLst>
                <a:gd name="connsiteX0" fmla="*/ 19233 w 71688"/>
                <a:gd name="connsiteY0" fmla="*/ 80556 h 85426"/>
                <a:gd name="connsiteX1" fmla="*/ 5121 w 71688"/>
                <a:gd name="connsiteY1" fmla="*/ 65944 h 85426"/>
                <a:gd name="connsiteX2" fmla="*/ 0 w 71688"/>
                <a:gd name="connsiteY2" fmla="*/ 42713 h 85426"/>
                <a:gd name="connsiteX3" fmla="*/ 5121 w 71688"/>
                <a:gd name="connsiteY3" fmla="*/ 19608 h 85426"/>
                <a:gd name="connsiteX4" fmla="*/ 19233 w 71688"/>
                <a:gd name="connsiteY4" fmla="*/ 4996 h 85426"/>
                <a:gd name="connsiteX5" fmla="*/ 39591 w 71688"/>
                <a:gd name="connsiteY5" fmla="*/ 0 h 85426"/>
                <a:gd name="connsiteX6" fmla="*/ 58450 w 71688"/>
                <a:gd name="connsiteY6" fmla="*/ 4246 h 85426"/>
                <a:gd name="connsiteX7" fmla="*/ 71689 w 71688"/>
                <a:gd name="connsiteY7" fmla="*/ 15737 h 85426"/>
                <a:gd name="connsiteX8" fmla="*/ 61947 w 71688"/>
                <a:gd name="connsiteY8" fmla="*/ 23480 h 85426"/>
                <a:gd name="connsiteX9" fmla="*/ 52580 w 71688"/>
                <a:gd name="connsiteY9" fmla="*/ 14737 h 85426"/>
                <a:gd name="connsiteX10" fmla="*/ 39716 w 71688"/>
                <a:gd name="connsiteY10" fmla="*/ 11740 h 85426"/>
                <a:gd name="connsiteX11" fmla="*/ 26352 w 71688"/>
                <a:gd name="connsiteY11" fmla="*/ 15237 h 85426"/>
                <a:gd name="connsiteX12" fmla="*/ 17360 w 71688"/>
                <a:gd name="connsiteY12" fmla="*/ 25728 h 85426"/>
                <a:gd name="connsiteX13" fmla="*/ 14113 w 71688"/>
                <a:gd name="connsiteY13" fmla="*/ 42713 h 85426"/>
                <a:gd name="connsiteX14" fmla="*/ 17360 w 71688"/>
                <a:gd name="connsiteY14" fmla="*/ 59824 h 85426"/>
                <a:gd name="connsiteX15" fmla="*/ 26352 w 71688"/>
                <a:gd name="connsiteY15" fmla="*/ 70315 h 85426"/>
                <a:gd name="connsiteX16" fmla="*/ 39716 w 71688"/>
                <a:gd name="connsiteY16" fmla="*/ 73812 h 85426"/>
                <a:gd name="connsiteX17" fmla="*/ 52580 w 71688"/>
                <a:gd name="connsiteY17" fmla="*/ 70814 h 85426"/>
                <a:gd name="connsiteX18" fmla="*/ 61947 w 71688"/>
                <a:gd name="connsiteY18" fmla="*/ 62072 h 85426"/>
                <a:gd name="connsiteX19" fmla="*/ 71689 w 71688"/>
                <a:gd name="connsiteY19" fmla="*/ 69815 h 85426"/>
                <a:gd name="connsiteX20" fmla="*/ 58450 w 71688"/>
                <a:gd name="connsiteY20" fmla="*/ 81305 h 85426"/>
                <a:gd name="connsiteX21" fmla="*/ 39466 w 71688"/>
                <a:gd name="connsiteY21" fmla="*/ 85427 h 85426"/>
                <a:gd name="connsiteX22" fmla="*/ 19109 w 71688"/>
                <a:gd name="connsiteY22" fmla="*/ 80431 h 8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688" h="85426">
                  <a:moveTo>
                    <a:pt x="19233" y="80556"/>
                  </a:moveTo>
                  <a:cubicBezTo>
                    <a:pt x="13239" y="77309"/>
                    <a:pt x="8493" y="72438"/>
                    <a:pt x="5121" y="65944"/>
                  </a:cubicBezTo>
                  <a:cubicBezTo>
                    <a:pt x="1748" y="59449"/>
                    <a:pt x="0" y="51831"/>
                    <a:pt x="0" y="42713"/>
                  </a:cubicBezTo>
                  <a:cubicBezTo>
                    <a:pt x="0" y="33596"/>
                    <a:pt x="1748" y="25978"/>
                    <a:pt x="5121" y="19608"/>
                  </a:cubicBezTo>
                  <a:cubicBezTo>
                    <a:pt x="8493" y="13239"/>
                    <a:pt x="13239" y="8243"/>
                    <a:pt x="19233" y="4996"/>
                  </a:cubicBezTo>
                  <a:cubicBezTo>
                    <a:pt x="25228" y="1624"/>
                    <a:pt x="31973" y="0"/>
                    <a:pt x="39591" y="0"/>
                  </a:cubicBezTo>
                  <a:cubicBezTo>
                    <a:pt x="46710" y="0"/>
                    <a:pt x="52955" y="1374"/>
                    <a:pt x="58450" y="4246"/>
                  </a:cubicBezTo>
                  <a:cubicBezTo>
                    <a:pt x="63945" y="6994"/>
                    <a:pt x="68317" y="10866"/>
                    <a:pt x="71689" y="15737"/>
                  </a:cubicBezTo>
                  <a:lnTo>
                    <a:pt x="61947" y="23480"/>
                  </a:lnTo>
                  <a:cubicBezTo>
                    <a:pt x="59324" y="19608"/>
                    <a:pt x="56202" y="16736"/>
                    <a:pt x="52580" y="14737"/>
                  </a:cubicBezTo>
                  <a:cubicBezTo>
                    <a:pt x="48958" y="12739"/>
                    <a:pt x="44712" y="11740"/>
                    <a:pt x="39716" y="11740"/>
                  </a:cubicBezTo>
                  <a:cubicBezTo>
                    <a:pt x="34720" y="11740"/>
                    <a:pt x="30224" y="12864"/>
                    <a:pt x="26352" y="15237"/>
                  </a:cubicBezTo>
                  <a:cubicBezTo>
                    <a:pt x="22481" y="17610"/>
                    <a:pt x="19483" y="21107"/>
                    <a:pt x="17360" y="25728"/>
                  </a:cubicBezTo>
                  <a:cubicBezTo>
                    <a:pt x="15237" y="30349"/>
                    <a:pt x="14113" y="36094"/>
                    <a:pt x="14113" y="42713"/>
                  </a:cubicBezTo>
                  <a:cubicBezTo>
                    <a:pt x="14113" y="49333"/>
                    <a:pt x="15237" y="55078"/>
                    <a:pt x="17360" y="59824"/>
                  </a:cubicBezTo>
                  <a:cubicBezTo>
                    <a:pt x="19483" y="64445"/>
                    <a:pt x="22481" y="67942"/>
                    <a:pt x="26352" y="70315"/>
                  </a:cubicBezTo>
                  <a:cubicBezTo>
                    <a:pt x="30224" y="72688"/>
                    <a:pt x="34720" y="73812"/>
                    <a:pt x="39716" y="73812"/>
                  </a:cubicBezTo>
                  <a:cubicBezTo>
                    <a:pt x="44712" y="73812"/>
                    <a:pt x="48958" y="72813"/>
                    <a:pt x="52580" y="70814"/>
                  </a:cubicBezTo>
                  <a:cubicBezTo>
                    <a:pt x="56202" y="68816"/>
                    <a:pt x="59324" y="65944"/>
                    <a:pt x="61947" y="62072"/>
                  </a:cubicBezTo>
                  <a:lnTo>
                    <a:pt x="71689" y="69815"/>
                  </a:lnTo>
                  <a:cubicBezTo>
                    <a:pt x="68317" y="74686"/>
                    <a:pt x="63945" y="78558"/>
                    <a:pt x="58450" y="81305"/>
                  </a:cubicBezTo>
                  <a:cubicBezTo>
                    <a:pt x="52955" y="84053"/>
                    <a:pt x="46710" y="85427"/>
                    <a:pt x="39466" y="85427"/>
                  </a:cubicBezTo>
                  <a:cubicBezTo>
                    <a:pt x="31848" y="85427"/>
                    <a:pt x="25103" y="83803"/>
                    <a:pt x="19109" y="80431"/>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0" name="Freeform: Shape 1150">
              <a:extLst>
                <a:ext uri="{FF2B5EF4-FFF2-40B4-BE49-F238E27FC236}">
                  <a16:creationId xmlns:a16="http://schemas.microsoft.com/office/drawing/2014/main" id="{0C5D9A4A-DB1C-2B97-3E5F-F313897D6563}"/>
                </a:ext>
              </a:extLst>
            </p:cNvPr>
            <p:cNvSpPr/>
            <p:nvPr/>
          </p:nvSpPr>
          <p:spPr>
            <a:xfrm>
              <a:off x="5053189" y="3606892"/>
              <a:ext cx="47058" cy="61051"/>
            </a:xfrm>
            <a:custGeom>
              <a:avLst/>
              <a:gdLst>
                <a:gd name="connsiteX0" fmla="*/ 12115 w 65943"/>
                <a:gd name="connsiteY0" fmla="*/ 82554 h 85551"/>
                <a:gd name="connsiteX1" fmla="*/ 3247 w 65943"/>
                <a:gd name="connsiteY1" fmla="*/ 74311 h 85551"/>
                <a:gd name="connsiteX2" fmla="*/ 0 w 65943"/>
                <a:gd name="connsiteY2" fmla="*/ 61323 h 85551"/>
                <a:gd name="connsiteX3" fmla="*/ 4871 w 65943"/>
                <a:gd name="connsiteY3" fmla="*/ 46210 h 85551"/>
                <a:gd name="connsiteX4" fmla="*/ 18110 w 65943"/>
                <a:gd name="connsiteY4" fmla="*/ 37593 h 85551"/>
                <a:gd name="connsiteX5" fmla="*/ 37593 w 65943"/>
                <a:gd name="connsiteY5" fmla="*/ 34845 h 85551"/>
                <a:gd name="connsiteX6" fmla="*/ 52206 w 65943"/>
                <a:gd name="connsiteY6" fmla="*/ 34845 h 85551"/>
                <a:gd name="connsiteX7" fmla="*/ 52206 w 65943"/>
                <a:gd name="connsiteY7" fmla="*/ 29225 h 85551"/>
                <a:gd name="connsiteX8" fmla="*/ 48084 w 65943"/>
                <a:gd name="connsiteY8" fmla="*/ 15986 h 85551"/>
                <a:gd name="connsiteX9" fmla="*/ 35595 w 65943"/>
                <a:gd name="connsiteY9" fmla="*/ 11490 h 85551"/>
                <a:gd name="connsiteX10" fmla="*/ 22231 w 65943"/>
                <a:gd name="connsiteY10" fmla="*/ 14613 h 85551"/>
                <a:gd name="connsiteX11" fmla="*/ 12240 w 65943"/>
                <a:gd name="connsiteY11" fmla="*/ 23605 h 85551"/>
                <a:gd name="connsiteX12" fmla="*/ 3372 w 65943"/>
                <a:gd name="connsiteY12" fmla="*/ 14737 h 85551"/>
                <a:gd name="connsiteX13" fmla="*/ 36469 w 65943"/>
                <a:gd name="connsiteY13" fmla="*/ 0 h 85551"/>
                <a:gd name="connsiteX14" fmla="*/ 52580 w 65943"/>
                <a:gd name="connsiteY14" fmla="*/ 3622 h 85551"/>
                <a:gd name="connsiteX15" fmla="*/ 62572 w 65943"/>
                <a:gd name="connsiteY15" fmla="*/ 13863 h 85551"/>
                <a:gd name="connsiteX16" fmla="*/ 65944 w 65943"/>
                <a:gd name="connsiteY16" fmla="*/ 29350 h 85551"/>
                <a:gd name="connsiteX17" fmla="*/ 65944 w 65943"/>
                <a:gd name="connsiteY17" fmla="*/ 84053 h 85551"/>
                <a:gd name="connsiteX18" fmla="*/ 52830 w 65943"/>
                <a:gd name="connsiteY18" fmla="*/ 84053 h 85551"/>
                <a:gd name="connsiteX19" fmla="*/ 52830 w 65943"/>
                <a:gd name="connsiteY19" fmla="*/ 68691 h 85551"/>
                <a:gd name="connsiteX20" fmla="*/ 52580 w 65943"/>
                <a:gd name="connsiteY20" fmla="*/ 68691 h 85551"/>
                <a:gd name="connsiteX21" fmla="*/ 41964 w 65943"/>
                <a:gd name="connsiteY21" fmla="*/ 81555 h 85551"/>
                <a:gd name="connsiteX22" fmla="*/ 25353 w 65943"/>
                <a:gd name="connsiteY22" fmla="*/ 85552 h 85551"/>
                <a:gd name="connsiteX23" fmla="*/ 12365 w 65943"/>
                <a:gd name="connsiteY23" fmla="*/ 82679 h 85551"/>
                <a:gd name="connsiteX24" fmla="*/ 15986 w 65943"/>
                <a:gd name="connsiteY24" fmla="*/ 67817 h 85551"/>
                <a:gd name="connsiteX25" fmla="*/ 21107 w 65943"/>
                <a:gd name="connsiteY25" fmla="*/ 72313 h 85551"/>
                <a:gd name="connsiteX26" fmla="*/ 28975 w 65943"/>
                <a:gd name="connsiteY26" fmla="*/ 73812 h 85551"/>
                <a:gd name="connsiteX27" fmla="*/ 41465 w 65943"/>
                <a:gd name="connsiteY27" fmla="*/ 70939 h 85551"/>
                <a:gd name="connsiteX28" fmla="*/ 49458 w 65943"/>
                <a:gd name="connsiteY28" fmla="*/ 63196 h 85551"/>
                <a:gd name="connsiteX29" fmla="*/ 52206 w 65943"/>
                <a:gd name="connsiteY29" fmla="*/ 53080 h 85551"/>
                <a:gd name="connsiteX30" fmla="*/ 52206 w 65943"/>
                <a:gd name="connsiteY30" fmla="*/ 45086 h 85551"/>
                <a:gd name="connsiteX31" fmla="*/ 39341 w 65943"/>
                <a:gd name="connsiteY31" fmla="*/ 45086 h 85551"/>
                <a:gd name="connsiteX32" fmla="*/ 21107 w 65943"/>
                <a:gd name="connsiteY32" fmla="*/ 48583 h 85551"/>
                <a:gd name="connsiteX33" fmla="*/ 14238 w 65943"/>
                <a:gd name="connsiteY33" fmla="*/ 61073 h 85551"/>
                <a:gd name="connsiteX34" fmla="*/ 15986 w 65943"/>
                <a:gd name="connsiteY34" fmla="*/ 67817 h 8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943" h="85551">
                  <a:moveTo>
                    <a:pt x="12115" y="82554"/>
                  </a:moveTo>
                  <a:cubicBezTo>
                    <a:pt x="8368" y="80681"/>
                    <a:pt x="5371" y="77933"/>
                    <a:pt x="3247" y="74311"/>
                  </a:cubicBezTo>
                  <a:cubicBezTo>
                    <a:pt x="1124" y="70690"/>
                    <a:pt x="0" y="66443"/>
                    <a:pt x="0" y="61323"/>
                  </a:cubicBezTo>
                  <a:cubicBezTo>
                    <a:pt x="0" y="55203"/>
                    <a:pt x="1624" y="50082"/>
                    <a:pt x="4871" y="46210"/>
                  </a:cubicBezTo>
                  <a:cubicBezTo>
                    <a:pt x="8118" y="42339"/>
                    <a:pt x="12489" y="39341"/>
                    <a:pt x="18110" y="37593"/>
                  </a:cubicBezTo>
                  <a:cubicBezTo>
                    <a:pt x="23730" y="35844"/>
                    <a:pt x="30224" y="34845"/>
                    <a:pt x="37593" y="34845"/>
                  </a:cubicBezTo>
                  <a:lnTo>
                    <a:pt x="52206" y="34845"/>
                  </a:lnTo>
                  <a:lnTo>
                    <a:pt x="52206" y="29225"/>
                  </a:lnTo>
                  <a:cubicBezTo>
                    <a:pt x="52206" y="23480"/>
                    <a:pt x="50832" y="18984"/>
                    <a:pt x="48084" y="15986"/>
                  </a:cubicBezTo>
                  <a:cubicBezTo>
                    <a:pt x="45336" y="12989"/>
                    <a:pt x="41090" y="11490"/>
                    <a:pt x="35595" y="11490"/>
                  </a:cubicBezTo>
                  <a:cubicBezTo>
                    <a:pt x="30474" y="11490"/>
                    <a:pt x="26103" y="12489"/>
                    <a:pt x="22231" y="14613"/>
                  </a:cubicBezTo>
                  <a:cubicBezTo>
                    <a:pt x="18484" y="16736"/>
                    <a:pt x="15112" y="19608"/>
                    <a:pt x="12240" y="23605"/>
                  </a:cubicBezTo>
                  <a:lnTo>
                    <a:pt x="3372" y="14737"/>
                  </a:lnTo>
                  <a:cubicBezTo>
                    <a:pt x="11615" y="4871"/>
                    <a:pt x="22606" y="0"/>
                    <a:pt x="36469" y="0"/>
                  </a:cubicBezTo>
                  <a:cubicBezTo>
                    <a:pt x="42839" y="0"/>
                    <a:pt x="48209" y="1249"/>
                    <a:pt x="52580" y="3622"/>
                  </a:cubicBezTo>
                  <a:cubicBezTo>
                    <a:pt x="56951" y="6120"/>
                    <a:pt x="60324" y="9492"/>
                    <a:pt x="62572" y="13863"/>
                  </a:cubicBezTo>
                  <a:cubicBezTo>
                    <a:pt x="64820" y="18234"/>
                    <a:pt x="65944" y="23355"/>
                    <a:pt x="65944" y="29350"/>
                  </a:cubicBezTo>
                  <a:lnTo>
                    <a:pt x="65944" y="84053"/>
                  </a:lnTo>
                  <a:lnTo>
                    <a:pt x="52830" y="84053"/>
                  </a:lnTo>
                  <a:lnTo>
                    <a:pt x="52830" y="68691"/>
                  </a:lnTo>
                  <a:lnTo>
                    <a:pt x="52580" y="68691"/>
                  </a:lnTo>
                  <a:cubicBezTo>
                    <a:pt x="49833" y="74561"/>
                    <a:pt x="46336" y="78808"/>
                    <a:pt x="41964" y="81555"/>
                  </a:cubicBezTo>
                  <a:cubicBezTo>
                    <a:pt x="37593" y="84303"/>
                    <a:pt x="32098" y="85552"/>
                    <a:pt x="25353" y="85552"/>
                  </a:cubicBezTo>
                  <a:cubicBezTo>
                    <a:pt x="20483" y="85552"/>
                    <a:pt x="16111" y="84553"/>
                    <a:pt x="12365" y="82679"/>
                  </a:cubicBezTo>
                  <a:close/>
                  <a:moveTo>
                    <a:pt x="15986" y="67817"/>
                  </a:moveTo>
                  <a:cubicBezTo>
                    <a:pt x="17110" y="69690"/>
                    <a:pt x="18859" y="71189"/>
                    <a:pt x="21107" y="72313"/>
                  </a:cubicBezTo>
                  <a:cubicBezTo>
                    <a:pt x="23355" y="73312"/>
                    <a:pt x="25978" y="73812"/>
                    <a:pt x="28975" y="73812"/>
                  </a:cubicBezTo>
                  <a:cubicBezTo>
                    <a:pt x="33846" y="73812"/>
                    <a:pt x="37968" y="72813"/>
                    <a:pt x="41465" y="70939"/>
                  </a:cubicBezTo>
                  <a:cubicBezTo>
                    <a:pt x="44962" y="68941"/>
                    <a:pt x="47584" y="66443"/>
                    <a:pt x="49458" y="63196"/>
                  </a:cubicBezTo>
                  <a:cubicBezTo>
                    <a:pt x="51331" y="59949"/>
                    <a:pt x="52206" y="56702"/>
                    <a:pt x="52206" y="53080"/>
                  </a:cubicBezTo>
                  <a:lnTo>
                    <a:pt x="52206" y="45086"/>
                  </a:lnTo>
                  <a:lnTo>
                    <a:pt x="39341" y="45086"/>
                  </a:lnTo>
                  <a:cubicBezTo>
                    <a:pt x="31723" y="45086"/>
                    <a:pt x="25728" y="46210"/>
                    <a:pt x="21107" y="48583"/>
                  </a:cubicBezTo>
                  <a:cubicBezTo>
                    <a:pt x="16486" y="50956"/>
                    <a:pt x="14238" y="55078"/>
                    <a:pt x="14238" y="61073"/>
                  </a:cubicBezTo>
                  <a:cubicBezTo>
                    <a:pt x="14238" y="63696"/>
                    <a:pt x="14862" y="65944"/>
                    <a:pt x="15986" y="67817"/>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2" name="Freeform: Shape 1151">
              <a:extLst>
                <a:ext uri="{FF2B5EF4-FFF2-40B4-BE49-F238E27FC236}">
                  <a16:creationId xmlns:a16="http://schemas.microsoft.com/office/drawing/2014/main" id="{001C6983-98FE-66F4-7764-20B00AA5D958}"/>
                </a:ext>
              </a:extLst>
            </p:cNvPr>
            <p:cNvSpPr/>
            <p:nvPr/>
          </p:nvSpPr>
          <p:spPr>
            <a:xfrm>
              <a:off x="5114864" y="3606802"/>
              <a:ext cx="57307" cy="83065"/>
            </a:xfrm>
            <a:custGeom>
              <a:avLst/>
              <a:gdLst>
                <a:gd name="connsiteX0" fmla="*/ 0 w 80306"/>
                <a:gd name="connsiteY0" fmla="*/ 1499 h 116400"/>
                <a:gd name="connsiteX1" fmla="*/ 13114 w 80306"/>
                <a:gd name="connsiteY1" fmla="*/ 1499 h 116400"/>
                <a:gd name="connsiteX2" fmla="*/ 13114 w 80306"/>
                <a:gd name="connsiteY2" fmla="*/ 18984 h 116400"/>
                <a:gd name="connsiteX3" fmla="*/ 13239 w 80306"/>
                <a:gd name="connsiteY3" fmla="*/ 18984 h 116400"/>
                <a:gd name="connsiteX4" fmla="*/ 23979 w 80306"/>
                <a:gd name="connsiteY4" fmla="*/ 5245 h 116400"/>
                <a:gd name="connsiteX5" fmla="*/ 44087 w 80306"/>
                <a:gd name="connsiteY5" fmla="*/ 0 h 116400"/>
                <a:gd name="connsiteX6" fmla="*/ 63071 w 80306"/>
                <a:gd name="connsiteY6" fmla="*/ 5370 h 116400"/>
                <a:gd name="connsiteX7" fmla="*/ 75810 w 80306"/>
                <a:gd name="connsiteY7" fmla="*/ 20482 h 116400"/>
                <a:gd name="connsiteX8" fmla="*/ 80306 w 80306"/>
                <a:gd name="connsiteY8" fmla="*/ 42713 h 116400"/>
                <a:gd name="connsiteX9" fmla="*/ 75935 w 80306"/>
                <a:gd name="connsiteY9" fmla="*/ 65069 h 116400"/>
                <a:gd name="connsiteX10" fmla="*/ 63446 w 80306"/>
                <a:gd name="connsiteY10" fmla="*/ 80181 h 116400"/>
                <a:gd name="connsiteX11" fmla="*/ 44587 w 80306"/>
                <a:gd name="connsiteY11" fmla="*/ 85552 h 116400"/>
                <a:gd name="connsiteX12" fmla="*/ 30599 w 80306"/>
                <a:gd name="connsiteY12" fmla="*/ 83179 h 116400"/>
                <a:gd name="connsiteX13" fmla="*/ 20482 w 80306"/>
                <a:gd name="connsiteY13" fmla="*/ 76684 h 116400"/>
                <a:gd name="connsiteX14" fmla="*/ 14238 w 80306"/>
                <a:gd name="connsiteY14" fmla="*/ 67442 h 116400"/>
                <a:gd name="connsiteX15" fmla="*/ 13863 w 80306"/>
                <a:gd name="connsiteY15" fmla="*/ 67442 h 116400"/>
                <a:gd name="connsiteX16" fmla="*/ 13863 w 80306"/>
                <a:gd name="connsiteY16" fmla="*/ 116400 h 116400"/>
                <a:gd name="connsiteX17" fmla="*/ 125 w 80306"/>
                <a:gd name="connsiteY17" fmla="*/ 116400 h 116400"/>
                <a:gd name="connsiteX18" fmla="*/ 125 w 80306"/>
                <a:gd name="connsiteY18" fmla="*/ 1499 h 116400"/>
                <a:gd name="connsiteX19" fmla="*/ 17110 w 80306"/>
                <a:gd name="connsiteY19" fmla="*/ 59699 h 116400"/>
                <a:gd name="connsiteX20" fmla="*/ 26477 w 80306"/>
                <a:gd name="connsiteY20" fmla="*/ 70315 h 116400"/>
                <a:gd name="connsiteX21" fmla="*/ 39841 w 80306"/>
                <a:gd name="connsiteY21" fmla="*/ 73812 h 116400"/>
                <a:gd name="connsiteX22" fmla="*/ 53205 w 80306"/>
                <a:gd name="connsiteY22" fmla="*/ 70315 h 116400"/>
                <a:gd name="connsiteX23" fmla="*/ 62572 w 80306"/>
                <a:gd name="connsiteY23" fmla="*/ 59699 h 116400"/>
                <a:gd name="connsiteX24" fmla="*/ 65944 w 80306"/>
                <a:gd name="connsiteY24" fmla="*/ 42713 h 116400"/>
                <a:gd name="connsiteX25" fmla="*/ 62572 w 80306"/>
                <a:gd name="connsiteY25" fmla="*/ 25728 h 116400"/>
                <a:gd name="connsiteX26" fmla="*/ 53205 w 80306"/>
                <a:gd name="connsiteY26" fmla="*/ 15237 h 116400"/>
                <a:gd name="connsiteX27" fmla="*/ 39841 w 80306"/>
                <a:gd name="connsiteY27" fmla="*/ 11740 h 116400"/>
                <a:gd name="connsiteX28" fmla="*/ 26477 w 80306"/>
                <a:gd name="connsiteY28" fmla="*/ 15237 h 116400"/>
                <a:gd name="connsiteX29" fmla="*/ 17110 w 80306"/>
                <a:gd name="connsiteY29" fmla="*/ 25728 h 116400"/>
                <a:gd name="connsiteX30" fmla="*/ 13738 w 80306"/>
                <a:gd name="connsiteY30" fmla="*/ 42713 h 116400"/>
                <a:gd name="connsiteX31" fmla="*/ 17110 w 80306"/>
                <a:gd name="connsiteY31" fmla="*/ 59699 h 11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0306" h="116400">
                  <a:moveTo>
                    <a:pt x="0" y="1499"/>
                  </a:moveTo>
                  <a:lnTo>
                    <a:pt x="13114" y="1499"/>
                  </a:lnTo>
                  <a:lnTo>
                    <a:pt x="13114" y="18984"/>
                  </a:lnTo>
                  <a:lnTo>
                    <a:pt x="13239" y="18984"/>
                  </a:lnTo>
                  <a:cubicBezTo>
                    <a:pt x="15612" y="13364"/>
                    <a:pt x="19109" y="8742"/>
                    <a:pt x="23979" y="5245"/>
                  </a:cubicBezTo>
                  <a:cubicBezTo>
                    <a:pt x="28850" y="1748"/>
                    <a:pt x="35470" y="0"/>
                    <a:pt x="44087" y="0"/>
                  </a:cubicBezTo>
                  <a:cubicBezTo>
                    <a:pt x="51331" y="0"/>
                    <a:pt x="57576" y="1748"/>
                    <a:pt x="63071" y="5370"/>
                  </a:cubicBezTo>
                  <a:cubicBezTo>
                    <a:pt x="68566" y="8992"/>
                    <a:pt x="72813" y="13988"/>
                    <a:pt x="75810" y="20482"/>
                  </a:cubicBezTo>
                  <a:cubicBezTo>
                    <a:pt x="78808" y="26977"/>
                    <a:pt x="80306" y="34346"/>
                    <a:pt x="80306" y="42713"/>
                  </a:cubicBezTo>
                  <a:cubicBezTo>
                    <a:pt x="80306" y="51081"/>
                    <a:pt x="78808" y="58575"/>
                    <a:pt x="75935" y="65069"/>
                  </a:cubicBezTo>
                  <a:cubicBezTo>
                    <a:pt x="73063" y="71564"/>
                    <a:pt x="68816" y="76559"/>
                    <a:pt x="63446" y="80181"/>
                  </a:cubicBezTo>
                  <a:cubicBezTo>
                    <a:pt x="58075" y="83803"/>
                    <a:pt x="51706" y="85552"/>
                    <a:pt x="44587" y="85552"/>
                  </a:cubicBezTo>
                  <a:cubicBezTo>
                    <a:pt x="39341" y="85552"/>
                    <a:pt x="34595" y="84802"/>
                    <a:pt x="30599" y="83179"/>
                  </a:cubicBezTo>
                  <a:cubicBezTo>
                    <a:pt x="26477" y="81555"/>
                    <a:pt x="23105" y="79432"/>
                    <a:pt x="20482" y="76684"/>
                  </a:cubicBezTo>
                  <a:cubicBezTo>
                    <a:pt x="17860" y="73937"/>
                    <a:pt x="15737" y="70939"/>
                    <a:pt x="14238" y="67442"/>
                  </a:cubicBezTo>
                  <a:lnTo>
                    <a:pt x="13863" y="67442"/>
                  </a:lnTo>
                  <a:lnTo>
                    <a:pt x="13863" y="116400"/>
                  </a:lnTo>
                  <a:lnTo>
                    <a:pt x="125" y="116400"/>
                  </a:lnTo>
                  <a:lnTo>
                    <a:pt x="125" y="1499"/>
                  </a:lnTo>
                  <a:close/>
                  <a:moveTo>
                    <a:pt x="17110" y="59699"/>
                  </a:moveTo>
                  <a:cubicBezTo>
                    <a:pt x="19358" y="64320"/>
                    <a:pt x="22481" y="67942"/>
                    <a:pt x="26477" y="70315"/>
                  </a:cubicBezTo>
                  <a:cubicBezTo>
                    <a:pt x="30474" y="72688"/>
                    <a:pt x="34970" y="73812"/>
                    <a:pt x="39841" y="73812"/>
                  </a:cubicBezTo>
                  <a:cubicBezTo>
                    <a:pt x="44712" y="73812"/>
                    <a:pt x="49333" y="72688"/>
                    <a:pt x="53205" y="70315"/>
                  </a:cubicBezTo>
                  <a:cubicBezTo>
                    <a:pt x="57201" y="67942"/>
                    <a:pt x="60199" y="64445"/>
                    <a:pt x="62572" y="59699"/>
                  </a:cubicBezTo>
                  <a:cubicBezTo>
                    <a:pt x="64820" y="55078"/>
                    <a:pt x="65944" y="49333"/>
                    <a:pt x="65944" y="42713"/>
                  </a:cubicBezTo>
                  <a:cubicBezTo>
                    <a:pt x="65944" y="36094"/>
                    <a:pt x="64820" y="30349"/>
                    <a:pt x="62572" y="25728"/>
                  </a:cubicBezTo>
                  <a:cubicBezTo>
                    <a:pt x="60323" y="21107"/>
                    <a:pt x="57201" y="17610"/>
                    <a:pt x="53205" y="15237"/>
                  </a:cubicBezTo>
                  <a:cubicBezTo>
                    <a:pt x="49208" y="12864"/>
                    <a:pt x="44837" y="11740"/>
                    <a:pt x="39841" y="11740"/>
                  </a:cubicBezTo>
                  <a:cubicBezTo>
                    <a:pt x="34845" y="11740"/>
                    <a:pt x="30349" y="12864"/>
                    <a:pt x="26477" y="15237"/>
                  </a:cubicBezTo>
                  <a:cubicBezTo>
                    <a:pt x="22481" y="17610"/>
                    <a:pt x="19358" y="21107"/>
                    <a:pt x="17110" y="25728"/>
                  </a:cubicBezTo>
                  <a:cubicBezTo>
                    <a:pt x="14862" y="30349"/>
                    <a:pt x="13738" y="36094"/>
                    <a:pt x="13738" y="42713"/>
                  </a:cubicBezTo>
                  <a:cubicBezTo>
                    <a:pt x="13738" y="49333"/>
                    <a:pt x="14862" y="55078"/>
                    <a:pt x="17110" y="59699"/>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3" name="Freeform: Shape 1152">
              <a:extLst>
                <a:ext uri="{FF2B5EF4-FFF2-40B4-BE49-F238E27FC236}">
                  <a16:creationId xmlns:a16="http://schemas.microsoft.com/office/drawing/2014/main" id="{6D3A2C50-37F2-ABF1-C04B-042CCDEA8F69}"/>
                </a:ext>
              </a:extLst>
            </p:cNvPr>
            <p:cNvSpPr/>
            <p:nvPr/>
          </p:nvSpPr>
          <p:spPr>
            <a:xfrm>
              <a:off x="5182154" y="3583897"/>
              <a:ext cx="13012" cy="82798"/>
            </a:xfrm>
            <a:custGeom>
              <a:avLst/>
              <a:gdLst>
                <a:gd name="connsiteX0" fmla="*/ 1124 w 18234"/>
                <a:gd name="connsiteY0" fmla="*/ 4371 h 116025"/>
                <a:gd name="connsiteX1" fmla="*/ 4371 w 18234"/>
                <a:gd name="connsiteY1" fmla="*/ 1124 h 116025"/>
                <a:gd name="connsiteX2" fmla="*/ 9117 w 18234"/>
                <a:gd name="connsiteY2" fmla="*/ 0 h 116025"/>
                <a:gd name="connsiteX3" fmla="*/ 13863 w 18234"/>
                <a:gd name="connsiteY3" fmla="*/ 1124 h 116025"/>
                <a:gd name="connsiteX4" fmla="*/ 17110 w 18234"/>
                <a:gd name="connsiteY4" fmla="*/ 4371 h 116025"/>
                <a:gd name="connsiteX5" fmla="*/ 18235 w 18234"/>
                <a:gd name="connsiteY5" fmla="*/ 9117 h 116025"/>
                <a:gd name="connsiteX6" fmla="*/ 17110 w 18234"/>
                <a:gd name="connsiteY6" fmla="*/ 13863 h 116025"/>
                <a:gd name="connsiteX7" fmla="*/ 13863 w 18234"/>
                <a:gd name="connsiteY7" fmla="*/ 17110 h 116025"/>
                <a:gd name="connsiteX8" fmla="*/ 9117 w 18234"/>
                <a:gd name="connsiteY8" fmla="*/ 18234 h 116025"/>
                <a:gd name="connsiteX9" fmla="*/ 4371 w 18234"/>
                <a:gd name="connsiteY9" fmla="*/ 17110 h 116025"/>
                <a:gd name="connsiteX10" fmla="*/ 1124 w 18234"/>
                <a:gd name="connsiteY10" fmla="*/ 13863 h 116025"/>
                <a:gd name="connsiteX11" fmla="*/ 0 w 18234"/>
                <a:gd name="connsiteY11" fmla="*/ 9117 h 116025"/>
                <a:gd name="connsiteX12" fmla="*/ 1124 w 18234"/>
                <a:gd name="connsiteY12" fmla="*/ 4371 h 116025"/>
                <a:gd name="connsiteX13" fmla="*/ 2248 w 18234"/>
                <a:gd name="connsiteY13" fmla="*/ 33596 h 116025"/>
                <a:gd name="connsiteX14" fmla="*/ 15986 w 18234"/>
                <a:gd name="connsiteY14" fmla="*/ 33596 h 116025"/>
                <a:gd name="connsiteX15" fmla="*/ 15986 w 18234"/>
                <a:gd name="connsiteY15" fmla="*/ 116026 h 116025"/>
                <a:gd name="connsiteX16" fmla="*/ 2248 w 18234"/>
                <a:gd name="connsiteY16" fmla="*/ 116026 h 116025"/>
                <a:gd name="connsiteX17" fmla="*/ 2248 w 18234"/>
                <a:gd name="connsiteY17" fmla="*/ 33596 h 11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234" h="116025">
                  <a:moveTo>
                    <a:pt x="1124" y="4371"/>
                  </a:moveTo>
                  <a:cubicBezTo>
                    <a:pt x="1873" y="2997"/>
                    <a:pt x="2998" y="1873"/>
                    <a:pt x="4371" y="1124"/>
                  </a:cubicBezTo>
                  <a:cubicBezTo>
                    <a:pt x="5745" y="375"/>
                    <a:pt x="7369" y="0"/>
                    <a:pt x="9117" y="0"/>
                  </a:cubicBezTo>
                  <a:cubicBezTo>
                    <a:pt x="10866" y="0"/>
                    <a:pt x="12489" y="375"/>
                    <a:pt x="13863" y="1124"/>
                  </a:cubicBezTo>
                  <a:cubicBezTo>
                    <a:pt x="15237" y="1873"/>
                    <a:pt x="16361" y="2997"/>
                    <a:pt x="17110" y="4371"/>
                  </a:cubicBezTo>
                  <a:cubicBezTo>
                    <a:pt x="17860" y="5745"/>
                    <a:pt x="18235" y="7369"/>
                    <a:pt x="18235" y="9117"/>
                  </a:cubicBezTo>
                  <a:cubicBezTo>
                    <a:pt x="18235" y="10866"/>
                    <a:pt x="17860" y="12489"/>
                    <a:pt x="17110" y="13863"/>
                  </a:cubicBezTo>
                  <a:cubicBezTo>
                    <a:pt x="16361" y="15237"/>
                    <a:pt x="15237" y="16361"/>
                    <a:pt x="13863" y="17110"/>
                  </a:cubicBezTo>
                  <a:cubicBezTo>
                    <a:pt x="12489" y="17860"/>
                    <a:pt x="10866" y="18234"/>
                    <a:pt x="9117" y="18234"/>
                  </a:cubicBezTo>
                  <a:cubicBezTo>
                    <a:pt x="7369" y="18234"/>
                    <a:pt x="5870" y="17860"/>
                    <a:pt x="4371" y="17110"/>
                  </a:cubicBezTo>
                  <a:cubicBezTo>
                    <a:pt x="2998" y="16361"/>
                    <a:pt x="1873" y="15237"/>
                    <a:pt x="1124" y="13863"/>
                  </a:cubicBezTo>
                  <a:cubicBezTo>
                    <a:pt x="375" y="12489"/>
                    <a:pt x="0" y="10866"/>
                    <a:pt x="0" y="9117"/>
                  </a:cubicBezTo>
                  <a:cubicBezTo>
                    <a:pt x="0" y="7369"/>
                    <a:pt x="375" y="5745"/>
                    <a:pt x="1124" y="4371"/>
                  </a:cubicBezTo>
                  <a:close/>
                  <a:moveTo>
                    <a:pt x="2248" y="33596"/>
                  </a:moveTo>
                  <a:lnTo>
                    <a:pt x="15986" y="33596"/>
                  </a:lnTo>
                  <a:lnTo>
                    <a:pt x="15986" y="116026"/>
                  </a:lnTo>
                  <a:lnTo>
                    <a:pt x="2248" y="116026"/>
                  </a:lnTo>
                  <a:lnTo>
                    <a:pt x="2248" y="33596"/>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4" name="Freeform: Shape 1153">
              <a:extLst>
                <a:ext uri="{FF2B5EF4-FFF2-40B4-BE49-F238E27FC236}">
                  <a16:creationId xmlns:a16="http://schemas.microsoft.com/office/drawing/2014/main" id="{D91BD0C7-8B28-21AE-7460-211060CE7603}"/>
                </a:ext>
              </a:extLst>
            </p:cNvPr>
            <p:cNvSpPr/>
            <p:nvPr/>
          </p:nvSpPr>
          <p:spPr>
            <a:xfrm>
              <a:off x="5201137" y="3593701"/>
              <a:ext cx="31728" cy="73975"/>
            </a:xfrm>
            <a:custGeom>
              <a:avLst/>
              <a:gdLst>
                <a:gd name="connsiteX0" fmla="*/ 21232 w 44461"/>
                <a:gd name="connsiteY0" fmla="*/ 101538 h 103661"/>
                <a:gd name="connsiteX1" fmla="*/ 14488 w 44461"/>
                <a:gd name="connsiteY1" fmla="*/ 95418 h 103661"/>
                <a:gd name="connsiteX2" fmla="*/ 12240 w 44461"/>
                <a:gd name="connsiteY2" fmla="*/ 84553 h 103661"/>
                <a:gd name="connsiteX3" fmla="*/ 12240 w 44461"/>
                <a:gd name="connsiteY3" fmla="*/ 31473 h 103661"/>
                <a:gd name="connsiteX4" fmla="*/ 0 w 44461"/>
                <a:gd name="connsiteY4" fmla="*/ 31473 h 103661"/>
                <a:gd name="connsiteX5" fmla="*/ 0 w 44461"/>
                <a:gd name="connsiteY5" fmla="*/ 24354 h 103661"/>
                <a:gd name="connsiteX6" fmla="*/ 24354 w 44461"/>
                <a:gd name="connsiteY6" fmla="*/ 0 h 103661"/>
                <a:gd name="connsiteX7" fmla="*/ 25978 w 44461"/>
                <a:gd name="connsiteY7" fmla="*/ 0 h 103661"/>
                <a:gd name="connsiteX8" fmla="*/ 25978 w 44461"/>
                <a:gd name="connsiteY8" fmla="*/ 19983 h 103661"/>
                <a:gd name="connsiteX9" fmla="*/ 44462 w 44461"/>
                <a:gd name="connsiteY9" fmla="*/ 19983 h 103661"/>
                <a:gd name="connsiteX10" fmla="*/ 44462 w 44461"/>
                <a:gd name="connsiteY10" fmla="*/ 31473 h 103661"/>
                <a:gd name="connsiteX11" fmla="*/ 25978 w 44461"/>
                <a:gd name="connsiteY11" fmla="*/ 31473 h 103661"/>
                <a:gd name="connsiteX12" fmla="*/ 25978 w 44461"/>
                <a:gd name="connsiteY12" fmla="*/ 81805 h 103661"/>
                <a:gd name="connsiteX13" fmla="*/ 26852 w 44461"/>
                <a:gd name="connsiteY13" fmla="*/ 87425 h 103661"/>
                <a:gd name="connsiteX14" fmla="*/ 29725 w 44461"/>
                <a:gd name="connsiteY14" fmla="*/ 90298 h 103661"/>
                <a:gd name="connsiteX15" fmla="*/ 35095 w 44461"/>
                <a:gd name="connsiteY15" fmla="*/ 91172 h 103661"/>
                <a:gd name="connsiteX16" fmla="*/ 44462 w 44461"/>
                <a:gd name="connsiteY16" fmla="*/ 89923 h 103661"/>
                <a:gd name="connsiteX17" fmla="*/ 44462 w 44461"/>
                <a:gd name="connsiteY17" fmla="*/ 102412 h 103661"/>
                <a:gd name="connsiteX18" fmla="*/ 39217 w 44461"/>
                <a:gd name="connsiteY18" fmla="*/ 103287 h 103661"/>
                <a:gd name="connsiteX19" fmla="*/ 33097 w 44461"/>
                <a:gd name="connsiteY19" fmla="*/ 103661 h 103661"/>
                <a:gd name="connsiteX20" fmla="*/ 21357 w 44461"/>
                <a:gd name="connsiteY20" fmla="*/ 101663 h 10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461" h="103661">
                  <a:moveTo>
                    <a:pt x="21232" y="101538"/>
                  </a:moveTo>
                  <a:cubicBezTo>
                    <a:pt x="18234" y="100164"/>
                    <a:pt x="15986" y="98166"/>
                    <a:pt x="14488" y="95418"/>
                  </a:cubicBezTo>
                  <a:cubicBezTo>
                    <a:pt x="12989" y="92671"/>
                    <a:pt x="12240" y="89049"/>
                    <a:pt x="12240" y="84553"/>
                  </a:cubicBezTo>
                  <a:lnTo>
                    <a:pt x="12240" y="31473"/>
                  </a:lnTo>
                  <a:lnTo>
                    <a:pt x="0" y="31473"/>
                  </a:lnTo>
                  <a:lnTo>
                    <a:pt x="0" y="24354"/>
                  </a:lnTo>
                  <a:lnTo>
                    <a:pt x="24354" y="0"/>
                  </a:lnTo>
                  <a:lnTo>
                    <a:pt x="25978" y="0"/>
                  </a:lnTo>
                  <a:lnTo>
                    <a:pt x="25978" y="19983"/>
                  </a:lnTo>
                  <a:lnTo>
                    <a:pt x="44462" y="19983"/>
                  </a:lnTo>
                  <a:lnTo>
                    <a:pt x="44462" y="31473"/>
                  </a:lnTo>
                  <a:lnTo>
                    <a:pt x="25978" y="31473"/>
                  </a:lnTo>
                  <a:lnTo>
                    <a:pt x="25978" y="81805"/>
                  </a:lnTo>
                  <a:cubicBezTo>
                    <a:pt x="25978" y="84303"/>
                    <a:pt x="26228" y="86176"/>
                    <a:pt x="26852" y="87425"/>
                  </a:cubicBezTo>
                  <a:cubicBezTo>
                    <a:pt x="27477" y="88799"/>
                    <a:pt x="28351" y="89673"/>
                    <a:pt x="29725" y="90298"/>
                  </a:cubicBezTo>
                  <a:cubicBezTo>
                    <a:pt x="30974" y="90797"/>
                    <a:pt x="32847" y="91172"/>
                    <a:pt x="35095" y="91172"/>
                  </a:cubicBezTo>
                  <a:cubicBezTo>
                    <a:pt x="38092" y="91172"/>
                    <a:pt x="41215" y="90797"/>
                    <a:pt x="44462" y="89923"/>
                  </a:cubicBezTo>
                  <a:lnTo>
                    <a:pt x="44462" y="102412"/>
                  </a:lnTo>
                  <a:cubicBezTo>
                    <a:pt x="42963" y="102787"/>
                    <a:pt x="41215" y="103037"/>
                    <a:pt x="39217" y="103287"/>
                  </a:cubicBezTo>
                  <a:cubicBezTo>
                    <a:pt x="37218" y="103536"/>
                    <a:pt x="35095" y="103661"/>
                    <a:pt x="33097" y="103661"/>
                  </a:cubicBezTo>
                  <a:cubicBezTo>
                    <a:pt x="28226" y="103661"/>
                    <a:pt x="24354" y="103037"/>
                    <a:pt x="21357" y="101663"/>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5" name="Freeform: Shape 1154">
              <a:extLst>
                <a:ext uri="{FF2B5EF4-FFF2-40B4-BE49-F238E27FC236}">
                  <a16:creationId xmlns:a16="http://schemas.microsoft.com/office/drawing/2014/main" id="{FA2D4A63-7912-96F7-0F52-94B60B14AC88}"/>
                </a:ext>
              </a:extLst>
            </p:cNvPr>
            <p:cNvSpPr/>
            <p:nvPr/>
          </p:nvSpPr>
          <p:spPr>
            <a:xfrm>
              <a:off x="5240798" y="3606892"/>
              <a:ext cx="47058" cy="61051"/>
            </a:xfrm>
            <a:custGeom>
              <a:avLst/>
              <a:gdLst>
                <a:gd name="connsiteX0" fmla="*/ 12115 w 65943"/>
                <a:gd name="connsiteY0" fmla="*/ 82554 h 85551"/>
                <a:gd name="connsiteX1" fmla="*/ 3247 w 65943"/>
                <a:gd name="connsiteY1" fmla="*/ 74311 h 85551"/>
                <a:gd name="connsiteX2" fmla="*/ 0 w 65943"/>
                <a:gd name="connsiteY2" fmla="*/ 61323 h 85551"/>
                <a:gd name="connsiteX3" fmla="*/ 4871 w 65943"/>
                <a:gd name="connsiteY3" fmla="*/ 46210 h 85551"/>
                <a:gd name="connsiteX4" fmla="*/ 18109 w 65943"/>
                <a:gd name="connsiteY4" fmla="*/ 37593 h 85551"/>
                <a:gd name="connsiteX5" fmla="*/ 37593 w 65943"/>
                <a:gd name="connsiteY5" fmla="*/ 34845 h 85551"/>
                <a:gd name="connsiteX6" fmla="*/ 52205 w 65943"/>
                <a:gd name="connsiteY6" fmla="*/ 34845 h 85551"/>
                <a:gd name="connsiteX7" fmla="*/ 52205 w 65943"/>
                <a:gd name="connsiteY7" fmla="*/ 29225 h 85551"/>
                <a:gd name="connsiteX8" fmla="*/ 48084 w 65943"/>
                <a:gd name="connsiteY8" fmla="*/ 15986 h 85551"/>
                <a:gd name="connsiteX9" fmla="*/ 35594 w 65943"/>
                <a:gd name="connsiteY9" fmla="*/ 11490 h 85551"/>
                <a:gd name="connsiteX10" fmla="*/ 22231 w 65943"/>
                <a:gd name="connsiteY10" fmla="*/ 14613 h 85551"/>
                <a:gd name="connsiteX11" fmla="*/ 12239 w 65943"/>
                <a:gd name="connsiteY11" fmla="*/ 23605 h 85551"/>
                <a:gd name="connsiteX12" fmla="*/ 3372 w 65943"/>
                <a:gd name="connsiteY12" fmla="*/ 14737 h 85551"/>
                <a:gd name="connsiteX13" fmla="*/ 36469 w 65943"/>
                <a:gd name="connsiteY13" fmla="*/ 0 h 85551"/>
                <a:gd name="connsiteX14" fmla="*/ 52580 w 65943"/>
                <a:gd name="connsiteY14" fmla="*/ 3622 h 85551"/>
                <a:gd name="connsiteX15" fmla="*/ 62571 w 65943"/>
                <a:gd name="connsiteY15" fmla="*/ 13863 h 85551"/>
                <a:gd name="connsiteX16" fmla="*/ 65944 w 65943"/>
                <a:gd name="connsiteY16" fmla="*/ 29350 h 85551"/>
                <a:gd name="connsiteX17" fmla="*/ 65944 w 65943"/>
                <a:gd name="connsiteY17" fmla="*/ 84053 h 85551"/>
                <a:gd name="connsiteX18" fmla="*/ 52830 w 65943"/>
                <a:gd name="connsiteY18" fmla="*/ 84053 h 85551"/>
                <a:gd name="connsiteX19" fmla="*/ 52830 w 65943"/>
                <a:gd name="connsiteY19" fmla="*/ 68691 h 85551"/>
                <a:gd name="connsiteX20" fmla="*/ 52580 w 65943"/>
                <a:gd name="connsiteY20" fmla="*/ 68691 h 85551"/>
                <a:gd name="connsiteX21" fmla="*/ 41964 w 65943"/>
                <a:gd name="connsiteY21" fmla="*/ 81555 h 85551"/>
                <a:gd name="connsiteX22" fmla="*/ 25353 w 65943"/>
                <a:gd name="connsiteY22" fmla="*/ 85552 h 85551"/>
                <a:gd name="connsiteX23" fmla="*/ 12364 w 65943"/>
                <a:gd name="connsiteY23" fmla="*/ 82679 h 85551"/>
                <a:gd name="connsiteX24" fmla="*/ 15861 w 65943"/>
                <a:gd name="connsiteY24" fmla="*/ 67817 h 85551"/>
                <a:gd name="connsiteX25" fmla="*/ 20982 w 65943"/>
                <a:gd name="connsiteY25" fmla="*/ 72313 h 85551"/>
                <a:gd name="connsiteX26" fmla="*/ 28850 w 65943"/>
                <a:gd name="connsiteY26" fmla="*/ 73812 h 85551"/>
                <a:gd name="connsiteX27" fmla="*/ 41340 w 65943"/>
                <a:gd name="connsiteY27" fmla="*/ 70939 h 85551"/>
                <a:gd name="connsiteX28" fmla="*/ 49333 w 65943"/>
                <a:gd name="connsiteY28" fmla="*/ 63196 h 85551"/>
                <a:gd name="connsiteX29" fmla="*/ 52080 w 65943"/>
                <a:gd name="connsiteY29" fmla="*/ 53080 h 85551"/>
                <a:gd name="connsiteX30" fmla="*/ 52080 w 65943"/>
                <a:gd name="connsiteY30" fmla="*/ 45086 h 85551"/>
                <a:gd name="connsiteX31" fmla="*/ 39216 w 65943"/>
                <a:gd name="connsiteY31" fmla="*/ 45086 h 85551"/>
                <a:gd name="connsiteX32" fmla="*/ 20982 w 65943"/>
                <a:gd name="connsiteY32" fmla="*/ 48583 h 85551"/>
                <a:gd name="connsiteX33" fmla="*/ 14113 w 65943"/>
                <a:gd name="connsiteY33" fmla="*/ 61073 h 85551"/>
                <a:gd name="connsiteX34" fmla="*/ 15861 w 65943"/>
                <a:gd name="connsiteY34" fmla="*/ 67817 h 8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943" h="85551">
                  <a:moveTo>
                    <a:pt x="12115" y="82554"/>
                  </a:moveTo>
                  <a:cubicBezTo>
                    <a:pt x="8368" y="80681"/>
                    <a:pt x="5370" y="77933"/>
                    <a:pt x="3247" y="74311"/>
                  </a:cubicBezTo>
                  <a:cubicBezTo>
                    <a:pt x="1124" y="70690"/>
                    <a:pt x="0" y="66443"/>
                    <a:pt x="0" y="61323"/>
                  </a:cubicBezTo>
                  <a:cubicBezTo>
                    <a:pt x="0" y="55203"/>
                    <a:pt x="1624" y="50082"/>
                    <a:pt x="4871" y="46210"/>
                  </a:cubicBezTo>
                  <a:cubicBezTo>
                    <a:pt x="8118" y="42339"/>
                    <a:pt x="12489" y="39341"/>
                    <a:pt x="18109" y="37593"/>
                  </a:cubicBezTo>
                  <a:cubicBezTo>
                    <a:pt x="23730" y="35844"/>
                    <a:pt x="30224" y="34845"/>
                    <a:pt x="37593" y="34845"/>
                  </a:cubicBezTo>
                  <a:lnTo>
                    <a:pt x="52205" y="34845"/>
                  </a:lnTo>
                  <a:lnTo>
                    <a:pt x="52205" y="29225"/>
                  </a:lnTo>
                  <a:cubicBezTo>
                    <a:pt x="52205" y="23480"/>
                    <a:pt x="50831" y="18984"/>
                    <a:pt x="48084" y="15986"/>
                  </a:cubicBezTo>
                  <a:cubicBezTo>
                    <a:pt x="45336" y="12989"/>
                    <a:pt x="41090" y="11490"/>
                    <a:pt x="35594" y="11490"/>
                  </a:cubicBezTo>
                  <a:cubicBezTo>
                    <a:pt x="30474" y="11490"/>
                    <a:pt x="26103" y="12489"/>
                    <a:pt x="22231" y="14613"/>
                  </a:cubicBezTo>
                  <a:cubicBezTo>
                    <a:pt x="18484" y="16736"/>
                    <a:pt x="15112" y="19608"/>
                    <a:pt x="12239" y="23605"/>
                  </a:cubicBezTo>
                  <a:lnTo>
                    <a:pt x="3372" y="14737"/>
                  </a:lnTo>
                  <a:cubicBezTo>
                    <a:pt x="11615" y="4871"/>
                    <a:pt x="22606" y="0"/>
                    <a:pt x="36469" y="0"/>
                  </a:cubicBezTo>
                  <a:cubicBezTo>
                    <a:pt x="42838" y="0"/>
                    <a:pt x="48209" y="1249"/>
                    <a:pt x="52580" y="3622"/>
                  </a:cubicBezTo>
                  <a:cubicBezTo>
                    <a:pt x="56951" y="6120"/>
                    <a:pt x="60323" y="9492"/>
                    <a:pt x="62571" y="13863"/>
                  </a:cubicBezTo>
                  <a:cubicBezTo>
                    <a:pt x="64820" y="18234"/>
                    <a:pt x="65944" y="23355"/>
                    <a:pt x="65944" y="29350"/>
                  </a:cubicBezTo>
                  <a:lnTo>
                    <a:pt x="65944" y="84053"/>
                  </a:lnTo>
                  <a:lnTo>
                    <a:pt x="52830" y="84053"/>
                  </a:lnTo>
                  <a:lnTo>
                    <a:pt x="52830" y="68691"/>
                  </a:lnTo>
                  <a:lnTo>
                    <a:pt x="52580" y="68691"/>
                  </a:lnTo>
                  <a:cubicBezTo>
                    <a:pt x="49832" y="74561"/>
                    <a:pt x="46335" y="78808"/>
                    <a:pt x="41964" y="81555"/>
                  </a:cubicBezTo>
                  <a:cubicBezTo>
                    <a:pt x="37593" y="84303"/>
                    <a:pt x="32097" y="85552"/>
                    <a:pt x="25353" y="85552"/>
                  </a:cubicBezTo>
                  <a:cubicBezTo>
                    <a:pt x="20482" y="85552"/>
                    <a:pt x="16111" y="84553"/>
                    <a:pt x="12364" y="82679"/>
                  </a:cubicBezTo>
                  <a:close/>
                  <a:moveTo>
                    <a:pt x="15861" y="67817"/>
                  </a:moveTo>
                  <a:cubicBezTo>
                    <a:pt x="16985" y="69690"/>
                    <a:pt x="18734" y="71189"/>
                    <a:pt x="20982" y="72313"/>
                  </a:cubicBezTo>
                  <a:cubicBezTo>
                    <a:pt x="23230" y="73312"/>
                    <a:pt x="25853" y="73812"/>
                    <a:pt x="28850" y="73812"/>
                  </a:cubicBezTo>
                  <a:cubicBezTo>
                    <a:pt x="33721" y="73812"/>
                    <a:pt x="37843" y="72813"/>
                    <a:pt x="41340" y="70939"/>
                  </a:cubicBezTo>
                  <a:cubicBezTo>
                    <a:pt x="44837" y="68941"/>
                    <a:pt x="47459" y="66443"/>
                    <a:pt x="49333" y="63196"/>
                  </a:cubicBezTo>
                  <a:cubicBezTo>
                    <a:pt x="51206" y="59949"/>
                    <a:pt x="52080" y="56702"/>
                    <a:pt x="52080" y="53080"/>
                  </a:cubicBezTo>
                  <a:lnTo>
                    <a:pt x="52080" y="45086"/>
                  </a:lnTo>
                  <a:lnTo>
                    <a:pt x="39216" y="45086"/>
                  </a:lnTo>
                  <a:cubicBezTo>
                    <a:pt x="31598" y="45086"/>
                    <a:pt x="25603" y="46210"/>
                    <a:pt x="20982" y="48583"/>
                  </a:cubicBezTo>
                  <a:cubicBezTo>
                    <a:pt x="16361" y="50956"/>
                    <a:pt x="14113" y="55078"/>
                    <a:pt x="14113" y="61073"/>
                  </a:cubicBezTo>
                  <a:cubicBezTo>
                    <a:pt x="14113" y="63696"/>
                    <a:pt x="14737" y="65944"/>
                    <a:pt x="15861" y="67817"/>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6" name="Freeform: Shape 1155">
              <a:extLst>
                <a:ext uri="{FF2B5EF4-FFF2-40B4-BE49-F238E27FC236}">
                  <a16:creationId xmlns:a16="http://schemas.microsoft.com/office/drawing/2014/main" id="{DCA8EE70-F21D-E0FE-BBA2-6D67A7FA7490}"/>
                </a:ext>
              </a:extLst>
            </p:cNvPr>
            <p:cNvSpPr/>
            <p:nvPr/>
          </p:nvSpPr>
          <p:spPr>
            <a:xfrm>
              <a:off x="5302028" y="3585947"/>
              <a:ext cx="20588" cy="81639"/>
            </a:xfrm>
            <a:custGeom>
              <a:avLst/>
              <a:gdLst>
                <a:gd name="connsiteX0" fmla="*/ 7993 w 28850"/>
                <a:gd name="connsiteY0" fmla="*/ 112154 h 114402"/>
                <a:gd name="connsiteX1" fmla="*/ 1873 w 28850"/>
                <a:gd name="connsiteY1" fmla="*/ 105535 h 114402"/>
                <a:gd name="connsiteX2" fmla="*/ 0 w 28850"/>
                <a:gd name="connsiteY2" fmla="*/ 94419 h 114402"/>
                <a:gd name="connsiteX3" fmla="*/ 0 w 28850"/>
                <a:gd name="connsiteY3" fmla="*/ 0 h 114402"/>
                <a:gd name="connsiteX4" fmla="*/ 13738 w 28850"/>
                <a:gd name="connsiteY4" fmla="*/ 0 h 114402"/>
                <a:gd name="connsiteX5" fmla="*/ 13738 w 28850"/>
                <a:gd name="connsiteY5" fmla="*/ 92296 h 114402"/>
                <a:gd name="connsiteX6" fmla="*/ 14363 w 28850"/>
                <a:gd name="connsiteY6" fmla="*/ 98166 h 114402"/>
                <a:gd name="connsiteX7" fmla="*/ 16736 w 28850"/>
                <a:gd name="connsiteY7" fmla="*/ 101039 h 114402"/>
                <a:gd name="connsiteX8" fmla="*/ 21482 w 28850"/>
                <a:gd name="connsiteY8" fmla="*/ 101913 h 114402"/>
                <a:gd name="connsiteX9" fmla="*/ 25228 w 28850"/>
                <a:gd name="connsiteY9" fmla="*/ 101663 h 114402"/>
                <a:gd name="connsiteX10" fmla="*/ 28850 w 28850"/>
                <a:gd name="connsiteY10" fmla="*/ 101039 h 114402"/>
                <a:gd name="connsiteX11" fmla="*/ 28850 w 28850"/>
                <a:gd name="connsiteY11" fmla="*/ 113278 h 114402"/>
                <a:gd name="connsiteX12" fmla="*/ 24229 w 28850"/>
                <a:gd name="connsiteY12" fmla="*/ 114152 h 114402"/>
                <a:gd name="connsiteX13" fmla="*/ 18859 w 28850"/>
                <a:gd name="connsiteY13" fmla="*/ 114402 h 114402"/>
                <a:gd name="connsiteX14" fmla="*/ 7993 w 28850"/>
                <a:gd name="connsiteY14" fmla="*/ 112154 h 114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850" h="114402">
                  <a:moveTo>
                    <a:pt x="7993" y="112154"/>
                  </a:moveTo>
                  <a:cubicBezTo>
                    <a:pt x="5245" y="110655"/>
                    <a:pt x="3122" y="108532"/>
                    <a:pt x="1873" y="105535"/>
                  </a:cubicBezTo>
                  <a:cubicBezTo>
                    <a:pt x="624" y="102662"/>
                    <a:pt x="0" y="98915"/>
                    <a:pt x="0" y="94419"/>
                  </a:cubicBezTo>
                  <a:lnTo>
                    <a:pt x="0" y="0"/>
                  </a:lnTo>
                  <a:lnTo>
                    <a:pt x="13738" y="0"/>
                  </a:lnTo>
                  <a:lnTo>
                    <a:pt x="13738" y="92296"/>
                  </a:lnTo>
                  <a:cubicBezTo>
                    <a:pt x="13738" y="94794"/>
                    <a:pt x="13988" y="96792"/>
                    <a:pt x="14363" y="98166"/>
                  </a:cubicBezTo>
                  <a:cubicBezTo>
                    <a:pt x="14862" y="99540"/>
                    <a:pt x="15612" y="100539"/>
                    <a:pt x="16736" y="101039"/>
                  </a:cubicBezTo>
                  <a:cubicBezTo>
                    <a:pt x="17860" y="101663"/>
                    <a:pt x="19483" y="101913"/>
                    <a:pt x="21482" y="101913"/>
                  </a:cubicBezTo>
                  <a:cubicBezTo>
                    <a:pt x="22731" y="101913"/>
                    <a:pt x="23979" y="101913"/>
                    <a:pt x="25228" y="101663"/>
                  </a:cubicBezTo>
                  <a:cubicBezTo>
                    <a:pt x="26477" y="101413"/>
                    <a:pt x="27726" y="101288"/>
                    <a:pt x="28850" y="101039"/>
                  </a:cubicBezTo>
                  <a:lnTo>
                    <a:pt x="28850" y="113278"/>
                  </a:lnTo>
                  <a:cubicBezTo>
                    <a:pt x="27476" y="113653"/>
                    <a:pt x="25978" y="114027"/>
                    <a:pt x="24229" y="114152"/>
                  </a:cubicBezTo>
                  <a:cubicBezTo>
                    <a:pt x="22481" y="114277"/>
                    <a:pt x="20607" y="114402"/>
                    <a:pt x="18859" y="114402"/>
                  </a:cubicBezTo>
                  <a:cubicBezTo>
                    <a:pt x="14363" y="114402"/>
                    <a:pt x="10741" y="113653"/>
                    <a:pt x="7993" y="112154"/>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7" name="Freeform: Shape 1156">
              <a:extLst>
                <a:ext uri="{FF2B5EF4-FFF2-40B4-BE49-F238E27FC236}">
                  <a16:creationId xmlns:a16="http://schemas.microsoft.com/office/drawing/2014/main" id="{F43C520F-B14D-DD98-8027-8701BFDAEFEC}"/>
                </a:ext>
              </a:extLst>
            </p:cNvPr>
            <p:cNvSpPr/>
            <p:nvPr/>
          </p:nvSpPr>
          <p:spPr>
            <a:xfrm>
              <a:off x="4844635" y="3740403"/>
              <a:ext cx="78073" cy="60160"/>
            </a:xfrm>
            <a:custGeom>
              <a:avLst/>
              <a:gdLst>
                <a:gd name="connsiteX0" fmla="*/ 250 w 109406"/>
                <a:gd name="connsiteY0" fmla="*/ 1624 h 84302"/>
                <a:gd name="connsiteX1" fmla="*/ 13364 w 109406"/>
                <a:gd name="connsiteY1" fmla="*/ 1624 h 84302"/>
                <a:gd name="connsiteX2" fmla="*/ 13364 w 109406"/>
                <a:gd name="connsiteY2" fmla="*/ 18734 h 84302"/>
                <a:gd name="connsiteX3" fmla="*/ 13613 w 109406"/>
                <a:gd name="connsiteY3" fmla="*/ 18734 h 84302"/>
                <a:gd name="connsiteX4" fmla="*/ 22856 w 109406"/>
                <a:gd name="connsiteY4" fmla="*/ 4871 h 84302"/>
                <a:gd name="connsiteX5" fmla="*/ 37718 w 109406"/>
                <a:gd name="connsiteY5" fmla="*/ 0 h 84302"/>
                <a:gd name="connsiteX6" fmla="*/ 52205 w 109406"/>
                <a:gd name="connsiteY6" fmla="*/ 4746 h 84302"/>
                <a:gd name="connsiteX7" fmla="*/ 60199 w 109406"/>
                <a:gd name="connsiteY7" fmla="*/ 18859 h 84302"/>
                <a:gd name="connsiteX8" fmla="*/ 60448 w 109406"/>
                <a:gd name="connsiteY8" fmla="*/ 18859 h 84302"/>
                <a:gd name="connsiteX9" fmla="*/ 65944 w 109406"/>
                <a:gd name="connsiteY9" fmla="*/ 8368 h 84302"/>
                <a:gd name="connsiteX10" fmla="*/ 74561 w 109406"/>
                <a:gd name="connsiteY10" fmla="*/ 2123 h 84302"/>
                <a:gd name="connsiteX11" fmla="*/ 85302 w 109406"/>
                <a:gd name="connsiteY11" fmla="*/ 125 h 84302"/>
                <a:gd name="connsiteX12" fmla="*/ 103287 w 109406"/>
                <a:gd name="connsiteY12" fmla="*/ 7119 h 84302"/>
                <a:gd name="connsiteX13" fmla="*/ 109407 w 109406"/>
                <a:gd name="connsiteY13" fmla="*/ 29100 h 84302"/>
                <a:gd name="connsiteX14" fmla="*/ 109407 w 109406"/>
                <a:gd name="connsiteY14" fmla="*/ 84053 h 84302"/>
                <a:gd name="connsiteX15" fmla="*/ 95668 w 109406"/>
                <a:gd name="connsiteY15" fmla="*/ 84053 h 84302"/>
                <a:gd name="connsiteX16" fmla="*/ 95668 w 109406"/>
                <a:gd name="connsiteY16" fmla="*/ 31723 h 84302"/>
                <a:gd name="connsiteX17" fmla="*/ 92171 w 109406"/>
                <a:gd name="connsiteY17" fmla="*/ 17235 h 84302"/>
                <a:gd name="connsiteX18" fmla="*/ 80806 w 109406"/>
                <a:gd name="connsiteY18" fmla="*/ 12240 h 84302"/>
                <a:gd name="connsiteX19" fmla="*/ 70565 w 109406"/>
                <a:gd name="connsiteY19" fmla="*/ 15112 h 84302"/>
                <a:gd name="connsiteX20" fmla="*/ 63945 w 109406"/>
                <a:gd name="connsiteY20" fmla="*/ 23355 h 84302"/>
                <a:gd name="connsiteX21" fmla="*/ 61572 w 109406"/>
                <a:gd name="connsiteY21" fmla="*/ 36344 h 84302"/>
                <a:gd name="connsiteX22" fmla="*/ 61572 w 109406"/>
                <a:gd name="connsiteY22" fmla="*/ 84178 h 84302"/>
                <a:gd name="connsiteX23" fmla="*/ 47834 w 109406"/>
                <a:gd name="connsiteY23" fmla="*/ 84178 h 84302"/>
                <a:gd name="connsiteX24" fmla="*/ 47834 w 109406"/>
                <a:gd name="connsiteY24" fmla="*/ 31848 h 84302"/>
                <a:gd name="connsiteX25" fmla="*/ 44462 w 109406"/>
                <a:gd name="connsiteY25" fmla="*/ 17360 h 84302"/>
                <a:gd name="connsiteX26" fmla="*/ 32972 w 109406"/>
                <a:gd name="connsiteY26" fmla="*/ 12364 h 84302"/>
                <a:gd name="connsiteX27" fmla="*/ 22731 w 109406"/>
                <a:gd name="connsiteY27" fmla="*/ 15237 h 84302"/>
                <a:gd name="connsiteX28" fmla="*/ 16111 w 109406"/>
                <a:gd name="connsiteY28" fmla="*/ 23480 h 84302"/>
                <a:gd name="connsiteX29" fmla="*/ 13738 w 109406"/>
                <a:gd name="connsiteY29" fmla="*/ 36469 h 84302"/>
                <a:gd name="connsiteX30" fmla="*/ 13738 w 109406"/>
                <a:gd name="connsiteY30" fmla="*/ 84303 h 84302"/>
                <a:gd name="connsiteX31" fmla="*/ 0 w 109406"/>
                <a:gd name="connsiteY31" fmla="*/ 84303 h 84302"/>
                <a:gd name="connsiteX32" fmla="*/ 0 w 109406"/>
                <a:gd name="connsiteY32" fmla="*/ 1873 h 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9406" h="84302">
                  <a:moveTo>
                    <a:pt x="250" y="1624"/>
                  </a:moveTo>
                  <a:lnTo>
                    <a:pt x="13364" y="1624"/>
                  </a:lnTo>
                  <a:lnTo>
                    <a:pt x="13364" y="18734"/>
                  </a:lnTo>
                  <a:lnTo>
                    <a:pt x="13613" y="18734"/>
                  </a:lnTo>
                  <a:cubicBezTo>
                    <a:pt x="15612" y="12739"/>
                    <a:pt x="18609" y="8118"/>
                    <a:pt x="22856" y="4871"/>
                  </a:cubicBezTo>
                  <a:cubicBezTo>
                    <a:pt x="26977" y="1624"/>
                    <a:pt x="31973" y="0"/>
                    <a:pt x="37718" y="0"/>
                  </a:cubicBezTo>
                  <a:cubicBezTo>
                    <a:pt x="43463" y="0"/>
                    <a:pt x="48209" y="1499"/>
                    <a:pt x="52205" y="4746"/>
                  </a:cubicBezTo>
                  <a:cubicBezTo>
                    <a:pt x="56202" y="7868"/>
                    <a:pt x="58825" y="12614"/>
                    <a:pt x="60199" y="18859"/>
                  </a:cubicBezTo>
                  <a:lnTo>
                    <a:pt x="60448" y="18859"/>
                  </a:lnTo>
                  <a:cubicBezTo>
                    <a:pt x="61697" y="14612"/>
                    <a:pt x="63446" y="11115"/>
                    <a:pt x="65944" y="8368"/>
                  </a:cubicBezTo>
                  <a:cubicBezTo>
                    <a:pt x="68442" y="5620"/>
                    <a:pt x="71314" y="3497"/>
                    <a:pt x="74561" y="2123"/>
                  </a:cubicBezTo>
                  <a:cubicBezTo>
                    <a:pt x="77933" y="749"/>
                    <a:pt x="81430" y="125"/>
                    <a:pt x="85302" y="125"/>
                  </a:cubicBezTo>
                  <a:cubicBezTo>
                    <a:pt x="93170" y="125"/>
                    <a:pt x="99290" y="2498"/>
                    <a:pt x="103287" y="7119"/>
                  </a:cubicBezTo>
                  <a:cubicBezTo>
                    <a:pt x="107283" y="11740"/>
                    <a:pt x="109407" y="19109"/>
                    <a:pt x="109407" y="29100"/>
                  </a:cubicBezTo>
                  <a:lnTo>
                    <a:pt x="109407" y="84053"/>
                  </a:lnTo>
                  <a:lnTo>
                    <a:pt x="95668" y="84053"/>
                  </a:lnTo>
                  <a:lnTo>
                    <a:pt x="95668" y="31723"/>
                  </a:lnTo>
                  <a:cubicBezTo>
                    <a:pt x="95668" y="25353"/>
                    <a:pt x="94544" y="20482"/>
                    <a:pt x="92171" y="17235"/>
                  </a:cubicBezTo>
                  <a:cubicBezTo>
                    <a:pt x="89798" y="13863"/>
                    <a:pt x="86052" y="12240"/>
                    <a:pt x="80806" y="12240"/>
                  </a:cubicBezTo>
                  <a:cubicBezTo>
                    <a:pt x="76934" y="12240"/>
                    <a:pt x="73437" y="13239"/>
                    <a:pt x="70565" y="15112"/>
                  </a:cubicBezTo>
                  <a:cubicBezTo>
                    <a:pt x="67692" y="16985"/>
                    <a:pt x="65444" y="19733"/>
                    <a:pt x="63945" y="23355"/>
                  </a:cubicBezTo>
                  <a:cubicBezTo>
                    <a:pt x="62447" y="26977"/>
                    <a:pt x="61572" y="31223"/>
                    <a:pt x="61572" y="36344"/>
                  </a:cubicBezTo>
                  <a:lnTo>
                    <a:pt x="61572" y="84178"/>
                  </a:lnTo>
                  <a:lnTo>
                    <a:pt x="47834" y="84178"/>
                  </a:lnTo>
                  <a:lnTo>
                    <a:pt x="47834" y="31848"/>
                  </a:lnTo>
                  <a:cubicBezTo>
                    <a:pt x="47834" y="25478"/>
                    <a:pt x="46710" y="20607"/>
                    <a:pt x="44462" y="17360"/>
                  </a:cubicBezTo>
                  <a:cubicBezTo>
                    <a:pt x="42214" y="13988"/>
                    <a:pt x="38342" y="12364"/>
                    <a:pt x="32972" y="12364"/>
                  </a:cubicBezTo>
                  <a:cubicBezTo>
                    <a:pt x="29100" y="12364"/>
                    <a:pt x="25603" y="13364"/>
                    <a:pt x="22731" y="15237"/>
                  </a:cubicBezTo>
                  <a:cubicBezTo>
                    <a:pt x="19858" y="17110"/>
                    <a:pt x="17610" y="19858"/>
                    <a:pt x="16111" y="23480"/>
                  </a:cubicBezTo>
                  <a:cubicBezTo>
                    <a:pt x="14488" y="27102"/>
                    <a:pt x="13738" y="31348"/>
                    <a:pt x="13738" y="36469"/>
                  </a:cubicBezTo>
                  <a:lnTo>
                    <a:pt x="13738" y="84303"/>
                  </a:lnTo>
                  <a:lnTo>
                    <a:pt x="0" y="84303"/>
                  </a:lnTo>
                  <a:lnTo>
                    <a:pt x="0" y="1873"/>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8" name="Freeform: Shape 1157">
              <a:extLst>
                <a:ext uri="{FF2B5EF4-FFF2-40B4-BE49-F238E27FC236}">
                  <a16:creationId xmlns:a16="http://schemas.microsoft.com/office/drawing/2014/main" id="{457E37CB-A0CD-3D4D-F9A6-163B223D8A6A}"/>
                </a:ext>
              </a:extLst>
            </p:cNvPr>
            <p:cNvSpPr/>
            <p:nvPr/>
          </p:nvSpPr>
          <p:spPr>
            <a:xfrm>
              <a:off x="4934653" y="3740582"/>
              <a:ext cx="47058" cy="61051"/>
            </a:xfrm>
            <a:custGeom>
              <a:avLst/>
              <a:gdLst>
                <a:gd name="connsiteX0" fmla="*/ 12115 w 65943"/>
                <a:gd name="connsiteY0" fmla="*/ 82554 h 85551"/>
                <a:gd name="connsiteX1" fmla="*/ 3247 w 65943"/>
                <a:gd name="connsiteY1" fmla="*/ 74311 h 85551"/>
                <a:gd name="connsiteX2" fmla="*/ 0 w 65943"/>
                <a:gd name="connsiteY2" fmla="*/ 61323 h 85551"/>
                <a:gd name="connsiteX3" fmla="*/ 4871 w 65943"/>
                <a:gd name="connsiteY3" fmla="*/ 46210 h 85551"/>
                <a:gd name="connsiteX4" fmla="*/ 18109 w 65943"/>
                <a:gd name="connsiteY4" fmla="*/ 37593 h 85551"/>
                <a:gd name="connsiteX5" fmla="*/ 37593 w 65943"/>
                <a:gd name="connsiteY5" fmla="*/ 34845 h 85551"/>
                <a:gd name="connsiteX6" fmla="*/ 52205 w 65943"/>
                <a:gd name="connsiteY6" fmla="*/ 34845 h 85551"/>
                <a:gd name="connsiteX7" fmla="*/ 52205 w 65943"/>
                <a:gd name="connsiteY7" fmla="*/ 29225 h 85551"/>
                <a:gd name="connsiteX8" fmla="*/ 48084 w 65943"/>
                <a:gd name="connsiteY8" fmla="*/ 15986 h 85551"/>
                <a:gd name="connsiteX9" fmla="*/ 35595 w 65943"/>
                <a:gd name="connsiteY9" fmla="*/ 11490 h 85551"/>
                <a:gd name="connsiteX10" fmla="*/ 22231 w 65943"/>
                <a:gd name="connsiteY10" fmla="*/ 14612 h 85551"/>
                <a:gd name="connsiteX11" fmla="*/ 12240 w 65943"/>
                <a:gd name="connsiteY11" fmla="*/ 23605 h 85551"/>
                <a:gd name="connsiteX12" fmla="*/ 3372 w 65943"/>
                <a:gd name="connsiteY12" fmla="*/ 14737 h 85551"/>
                <a:gd name="connsiteX13" fmla="*/ 36469 w 65943"/>
                <a:gd name="connsiteY13" fmla="*/ 0 h 85551"/>
                <a:gd name="connsiteX14" fmla="*/ 52580 w 65943"/>
                <a:gd name="connsiteY14" fmla="*/ 3622 h 85551"/>
                <a:gd name="connsiteX15" fmla="*/ 62572 w 65943"/>
                <a:gd name="connsiteY15" fmla="*/ 13863 h 85551"/>
                <a:gd name="connsiteX16" fmla="*/ 65944 w 65943"/>
                <a:gd name="connsiteY16" fmla="*/ 29350 h 85551"/>
                <a:gd name="connsiteX17" fmla="*/ 65944 w 65943"/>
                <a:gd name="connsiteY17" fmla="*/ 84053 h 85551"/>
                <a:gd name="connsiteX18" fmla="*/ 52830 w 65943"/>
                <a:gd name="connsiteY18" fmla="*/ 84053 h 85551"/>
                <a:gd name="connsiteX19" fmla="*/ 52830 w 65943"/>
                <a:gd name="connsiteY19" fmla="*/ 68691 h 85551"/>
                <a:gd name="connsiteX20" fmla="*/ 52580 w 65943"/>
                <a:gd name="connsiteY20" fmla="*/ 68691 h 85551"/>
                <a:gd name="connsiteX21" fmla="*/ 41964 w 65943"/>
                <a:gd name="connsiteY21" fmla="*/ 81555 h 85551"/>
                <a:gd name="connsiteX22" fmla="*/ 25353 w 65943"/>
                <a:gd name="connsiteY22" fmla="*/ 85552 h 85551"/>
                <a:gd name="connsiteX23" fmla="*/ 12364 w 65943"/>
                <a:gd name="connsiteY23" fmla="*/ 82679 h 85551"/>
                <a:gd name="connsiteX24" fmla="*/ 15986 w 65943"/>
                <a:gd name="connsiteY24" fmla="*/ 67817 h 85551"/>
                <a:gd name="connsiteX25" fmla="*/ 21107 w 65943"/>
                <a:gd name="connsiteY25" fmla="*/ 72313 h 85551"/>
                <a:gd name="connsiteX26" fmla="*/ 28975 w 65943"/>
                <a:gd name="connsiteY26" fmla="*/ 73812 h 85551"/>
                <a:gd name="connsiteX27" fmla="*/ 41465 w 65943"/>
                <a:gd name="connsiteY27" fmla="*/ 70939 h 85551"/>
                <a:gd name="connsiteX28" fmla="*/ 49458 w 65943"/>
                <a:gd name="connsiteY28" fmla="*/ 63196 h 85551"/>
                <a:gd name="connsiteX29" fmla="*/ 52205 w 65943"/>
                <a:gd name="connsiteY29" fmla="*/ 53080 h 85551"/>
                <a:gd name="connsiteX30" fmla="*/ 52205 w 65943"/>
                <a:gd name="connsiteY30" fmla="*/ 45086 h 85551"/>
                <a:gd name="connsiteX31" fmla="*/ 39341 w 65943"/>
                <a:gd name="connsiteY31" fmla="*/ 45086 h 85551"/>
                <a:gd name="connsiteX32" fmla="*/ 21107 w 65943"/>
                <a:gd name="connsiteY32" fmla="*/ 48583 h 85551"/>
                <a:gd name="connsiteX33" fmla="*/ 14238 w 65943"/>
                <a:gd name="connsiteY33" fmla="*/ 61073 h 85551"/>
                <a:gd name="connsiteX34" fmla="*/ 15986 w 65943"/>
                <a:gd name="connsiteY34" fmla="*/ 67817 h 8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943" h="85551">
                  <a:moveTo>
                    <a:pt x="12115" y="82554"/>
                  </a:moveTo>
                  <a:cubicBezTo>
                    <a:pt x="8368" y="80681"/>
                    <a:pt x="5370" y="77933"/>
                    <a:pt x="3247" y="74311"/>
                  </a:cubicBezTo>
                  <a:cubicBezTo>
                    <a:pt x="1124" y="70690"/>
                    <a:pt x="0" y="66443"/>
                    <a:pt x="0" y="61323"/>
                  </a:cubicBezTo>
                  <a:cubicBezTo>
                    <a:pt x="0" y="55203"/>
                    <a:pt x="1624" y="50082"/>
                    <a:pt x="4871" y="46210"/>
                  </a:cubicBezTo>
                  <a:cubicBezTo>
                    <a:pt x="8118" y="42339"/>
                    <a:pt x="12489" y="39341"/>
                    <a:pt x="18109" y="37593"/>
                  </a:cubicBezTo>
                  <a:cubicBezTo>
                    <a:pt x="23730" y="35844"/>
                    <a:pt x="30224" y="34845"/>
                    <a:pt x="37593" y="34845"/>
                  </a:cubicBezTo>
                  <a:lnTo>
                    <a:pt x="52205" y="34845"/>
                  </a:lnTo>
                  <a:lnTo>
                    <a:pt x="52205" y="29225"/>
                  </a:lnTo>
                  <a:cubicBezTo>
                    <a:pt x="52205" y="23480"/>
                    <a:pt x="50832" y="18984"/>
                    <a:pt x="48084" y="15986"/>
                  </a:cubicBezTo>
                  <a:cubicBezTo>
                    <a:pt x="45336" y="12989"/>
                    <a:pt x="41090" y="11490"/>
                    <a:pt x="35595" y="11490"/>
                  </a:cubicBezTo>
                  <a:cubicBezTo>
                    <a:pt x="30474" y="11490"/>
                    <a:pt x="26103" y="12489"/>
                    <a:pt x="22231" y="14612"/>
                  </a:cubicBezTo>
                  <a:cubicBezTo>
                    <a:pt x="18484" y="16736"/>
                    <a:pt x="15112" y="19608"/>
                    <a:pt x="12240" y="23605"/>
                  </a:cubicBezTo>
                  <a:lnTo>
                    <a:pt x="3372" y="14737"/>
                  </a:lnTo>
                  <a:cubicBezTo>
                    <a:pt x="11615" y="4871"/>
                    <a:pt x="22606" y="0"/>
                    <a:pt x="36469" y="0"/>
                  </a:cubicBezTo>
                  <a:cubicBezTo>
                    <a:pt x="42838" y="0"/>
                    <a:pt x="48209" y="1249"/>
                    <a:pt x="52580" y="3622"/>
                  </a:cubicBezTo>
                  <a:cubicBezTo>
                    <a:pt x="56951" y="6120"/>
                    <a:pt x="60323" y="9492"/>
                    <a:pt x="62572" y="13863"/>
                  </a:cubicBezTo>
                  <a:cubicBezTo>
                    <a:pt x="64820" y="18234"/>
                    <a:pt x="65944" y="23355"/>
                    <a:pt x="65944" y="29350"/>
                  </a:cubicBezTo>
                  <a:lnTo>
                    <a:pt x="65944" y="84053"/>
                  </a:lnTo>
                  <a:lnTo>
                    <a:pt x="52830" y="84053"/>
                  </a:lnTo>
                  <a:lnTo>
                    <a:pt x="52830" y="68691"/>
                  </a:lnTo>
                  <a:lnTo>
                    <a:pt x="52580" y="68691"/>
                  </a:lnTo>
                  <a:cubicBezTo>
                    <a:pt x="49832" y="74561"/>
                    <a:pt x="46335" y="78808"/>
                    <a:pt x="41964" y="81555"/>
                  </a:cubicBezTo>
                  <a:cubicBezTo>
                    <a:pt x="37593" y="84303"/>
                    <a:pt x="32098" y="85552"/>
                    <a:pt x="25353" y="85552"/>
                  </a:cubicBezTo>
                  <a:cubicBezTo>
                    <a:pt x="20482" y="85552"/>
                    <a:pt x="16111" y="84553"/>
                    <a:pt x="12364" y="82679"/>
                  </a:cubicBezTo>
                  <a:close/>
                  <a:moveTo>
                    <a:pt x="15986" y="67817"/>
                  </a:moveTo>
                  <a:cubicBezTo>
                    <a:pt x="17110" y="69690"/>
                    <a:pt x="18859" y="71189"/>
                    <a:pt x="21107" y="72313"/>
                  </a:cubicBezTo>
                  <a:cubicBezTo>
                    <a:pt x="23355" y="73312"/>
                    <a:pt x="25978" y="73812"/>
                    <a:pt x="28975" y="73812"/>
                  </a:cubicBezTo>
                  <a:cubicBezTo>
                    <a:pt x="33846" y="73812"/>
                    <a:pt x="37968" y="72813"/>
                    <a:pt x="41465" y="70939"/>
                  </a:cubicBezTo>
                  <a:cubicBezTo>
                    <a:pt x="44962" y="68941"/>
                    <a:pt x="47584" y="66443"/>
                    <a:pt x="49458" y="63196"/>
                  </a:cubicBezTo>
                  <a:cubicBezTo>
                    <a:pt x="51331" y="59949"/>
                    <a:pt x="52205" y="56701"/>
                    <a:pt x="52205" y="53080"/>
                  </a:cubicBezTo>
                  <a:lnTo>
                    <a:pt x="52205" y="45086"/>
                  </a:lnTo>
                  <a:lnTo>
                    <a:pt x="39341" y="45086"/>
                  </a:lnTo>
                  <a:cubicBezTo>
                    <a:pt x="31723" y="45086"/>
                    <a:pt x="25728" y="46210"/>
                    <a:pt x="21107" y="48583"/>
                  </a:cubicBezTo>
                  <a:cubicBezTo>
                    <a:pt x="16486" y="50956"/>
                    <a:pt x="14238" y="55078"/>
                    <a:pt x="14238" y="61073"/>
                  </a:cubicBezTo>
                  <a:cubicBezTo>
                    <a:pt x="14238" y="63696"/>
                    <a:pt x="14862" y="65944"/>
                    <a:pt x="15986" y="67817"/>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19" name="Freeform: Shape 1158">
              <a:extLst>
                <a:ext uri="{FF2B5EF4-FFF2-40B4-BE49-F238E27FC236}">
                  <a16:creationId xmlns:a16="http://schemas.microsoft.com/office/drawing/2014/main" id="{7C4DE574-2AE0-9029-227C-3E1DDA117BAB}"/>
                </a:ext>
              </a:extLst>
            </p:cNvPr>
            <p:cNvSpPr/>
            <p:nvPr/>
          </p:nvSpPr>
          <p:spPr>
            <a:xfrm>
              <a:off x="4996238" y="3740403"/>
              <a:ext cx="47058" cy="60070"/>
            </a:xfrm>
            <a:custGeom>
              <a:avLst/>
              <a:gdLst>
                <a:gd name="connsiteX0" fmla="*/ 125 w 65943"/>
                <a:gd name="connsiteY0" fmla="*/ 1624 h 84177"/>
                <a:gd name="connsiteX1" fmla="*/ 13239 w 65943"/>
                <a:gd name="connsiteY1" fmla="*/ 1624 h 84177"/>
                <a:gd name="connsiteX2" fmla="*/ 13239 w 65943"/>
                <a:gd name="connsiteY2" fmla="*/ 18734 h 84177"/>
                <a:gd name="connsiteX3" fmla="*/ 13488 w 65943"/>
                <a:gd name="connsiteY3" fmla="*/ 18734 h 84177"/>
                <a:gd name="connsiteX4" fmla="*/ 22731 w 65943"/>
                <a:gd name="connsiteY4" fmla="*/ 5370 h 84177"/>
                <a:gd name="connsiteX5" fmla="*/ 40216 w 65943"/>
                <a:gd name="connsiteY5" fmla="*/ 0 h 84177"/>
                <a:gd name="connsiteX6" fmla="*/ 54453 w 65943"/>
                <a:gd name="connsiteY6" fmla="*/ 3622 h 84177"/>
                <a:gd name="connsiteX7" fmla="*/ 63071 w 65943"/>
                <a:gd name="connsiteY7" fmla="*/ 13738 h 84177"/>
                <a:gd name="connsiteX8" fmla="*/ 65944 w 65943"/>
                <a:gd name="connsiteY8" fmla="*/ 29100 h 84177"/>
                <a:gd name="connsiteX9" fmla="*/ 65944 w 65943"/>
                <a:gd name="connsiteY9" fmla="*/ 84053 h 84177"/>
                <a:gd name="connsiteX10" fmla="*/ 52205 w 65943"/>
                <a:gd name="connsiteY10" fmla="*/ 84053 h 84177"/>
                <a:gd name="connsiteX11" fmla="*/ 52205 w 65943"/>
                <a:gd name="connsiteY11" fmla="*/ 31723 h 84177"/>
                <a:gd name="connsiteX12" fmla="*/ 48209 w 65943"/>
                <a:gd name="connsiteY12" fmla="*/ 17235 h 84177"/>
                <a:gd name="connsiteX13" fmla="*/ 35220 w 65943"/>
                <a:gd name="connsiteY13" fmla="*/ 12240 h 84177"/>
                <a:gd name="connsiteX14" fmla="*/ 23855 w 65943"/>
                <a:gd name="connsiteY14" fmla="*/ 15112 h 84177"/>
                <a:gd name="connsiteX15" fmla="*/ 16361 w 65943"/>
                <a:gd name="connsiteY15" fmla="*/ 23355 h 84177"/>
                <a:gd name="connsiteX16" fmla="*/ 13738 w 65943"/>
                <a:gd name="connsiteY16" fmla="*/ 36344 h 84177"/>
                <a:gd name="connsiteX17" fmla="*/ 13738 w 65943"/>
                <a:gd name="connsiteY17" fmla="*/ 84178 h 84177"/>
                <a:gd name="connsiteX18" fmla="*/ 0 w 65943"/>
                <a:gd name="connsiteY18" fmla="*/ 84178 h 84177"/>
                <a:gd name="connsiteX19" fmla="*/ 0 w 65943"/>
                <a:gd name="connsiteY19" fmla="*/ 1748 h 8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43" h="84177">
                  <a:moveTo>
                    <a:pt x="125" y="1624"/>
                  </a:moveTo>
                  <a:lnTo>
                    <a:pt x="13239" y="1624"/>
                  </a:lnTo>
                  <a:lnTo>
                    <a:pt x="13239" y="18734"/>
                  </a:lnTo>
                  <a:lnTo>
                    <a:pt x="13488" y="18734"/>
                  </a:lnTo>
                  <a:cubicBezTo>
                    <a:pt x="15487" y="13364"/>
                    <a:pt x="18609" y="8992"/>
                    <a:pt x="22731" y="5370"/>
                  </a:cubicBezTo>
                  <a:cubicBezTo>
                    <a:pt x="26852" y="1748"/>
                    <a:pt x="32722" y="0"/>
                    <a:pt x="40216" y="0"/>
                  </a:cubicBezTo>
                  <a:cubicBezTo>
                    <a:pt x="45961" y="0"/>
                    <a:pt x="50707" y="1249"/>
                    <a:pt x="54453" y="3622"/>
                  </a:cubicBezTo>
                  <a:cubicBezTo>
                    <a:pt x="58325" y="5995"/>
                    <a:pt x="61198" y="9367"/>
                    <a:pt x="63071" y="13738"/>
                  </a:cubicBezTo>
                  <a:cubicBezTo>
                    <a:pt x="64944" y="18109"/>
                    <a:pt x="65944" y="23230"/>
                    <a:pt x="65944" y="29100"/>
                  </a:cubicBezTo>
                  <a:lnTo>
                    <a:pt x="65944" y="84053"/>
                  </a:lnTo>
                  <a:lnTo>
                    <a:pt x="52205" y="84053"/>
                  </a:lnTo>
                  <a:lnTo>
                    <a:pt x="52205" y="31723"/>
                  </a:lnTo>
                  <a:cubicBezTo>
                    <a:pt x="52205" y="25353"/>
                    <a:pt x="50832" y="20482"/>
                    <a:pt x="48209" y="17235"/>
                  </a:cubicBezTo>
                  <a:cubicBezTo>
                    <a:pt x="45586" y="13863"/>
                    <a:pt x="41215" y="12240"/>
                    <a:pt x="35220" y="12240"/>
                  </a:cubicBezTo>
                  <a:cubicBezTo>
                    <a:pt x="30849" y="12240"/>
                    <a:pt x="27102" y="13239"/>
                    <a:pt x="23855" y="15112"/>
                  </a:cubicBezTo>
                  <a:cubicBezTo>
                    <a:pt x="20607" y="16985"/>
                    <a:pt x="18109" y="19733"/>
                    <a:pt x="16361" y="23355"/>
                  </a:cubicBezTo>
                  <a:cubicBezTo>
                    <a:pt x="14612" y="26977"/>
                    <a:pt x="13738" y="31223"/>
                    <a:pt x="13738" y="36344"/>
                  </a:cubicBezTo>
                  <a:lnTo>
                    <a:pt x="13738" y="84178"/>
                  </a:lnTo>
                  <a:lnTo>
                    <a:pt x="0" y="84178"/>
                  </a:lnTo>
                  <a:lnTo>
                    <a:pt x="0" y="1748"/>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0" name="Freeform: Shape 1159">
              <a:extLst>
                <a:ext uri="{FF2B5EF4-FFF2-40B4-BE49-F238E27FC236}">
                  <a16:creationId xmlns:a16="http://schemas.microsoft.com/office/drawing/2014/main" id="{E4F5EB8F-1BA0-1BA6-4503-5A4C4E4A48E6}"/>
                </a:ext>
              </a:extLst>
            </p:cNvPr>
            <p:cNvSpPr/>
            <p:nvPr/>
          </p:nvSpPr>
          <p:spPr>
            <a:xfrm>
              <a:off x="5055238" y="3740582"/>
              <a:ext cx="47058" cy="61051"/>
            </a:xfrm>
            <a:custGeom>
              <a:avLst/>
              <a:gdLst>
                <a:gd name="connsiteX0" fmla="*/ 12115 w 65943"/>
                <a:gd name="connsiteY0" fmla="*/ 82554 h 85551"/>
                <a:gd name="connsiteX1" fmla="*/ 3247 w 65943"/>
                <a:gd name="connsiteY1" fmla="*/ 74311 h 85551"/>
                <a:gd name="connsiteX2" fmla="*/ 0 w 65943"/>
                <a:gd name="connsiteY2" fmla="*/ 61323 h 85551"/>
                <a:gd name="connsiteX3" fmla="*/ 4871 w 65943"/>
                <a:gd name="connsiteY3" fmla="*/ 46210 h 85551"/>
                <a:gd name="connsiteX4" fmla="*/ 18110 w 65943"/>
                <a:gd name="connsiteY4" fmla="*/ 37593 h 85551"/>
                <a:gd name="connsiteX5" fmla="*/ 37593 w 65943"/>
                <a:gd name="connsiteY5" fmla="*/ 34845 h 85551"/>
                <a:gd name="connsiteX6" fmla="*/ 52205 w 65943"/>
                <a:gd name="connsiteY6" fmla="*/ 34845 h 85551"/>
                <a:gd name="connsiteX7" fmla="*/ 52205 w 65943"/>
                <a:gd name="connsiteY7" fmla="*/ 29225 h 85551"/>
                <a:gd name="connsiteX8" fmla="*/ 48084 w 65943"/>
                <a:gd name="connsiteY8" fmla="*/ 15986 h 85551"/>
                <a:gd name="connsiteX9" fmla="*/ 35595 w 65943"/>
                <a:gd name="connsiteY9" fmla="*/ 11490 h 85551"/>
                <a:gd name="connsiteX10" fmla="*/ 22231 w 65943"/>
                <a:gd name="connsiteY10" fmla="*/ 14612 h 85551"/>
                <a:gd name="connsiteX11" fmla="*/ 12240 w 65943"/>
                <a:gd name="connsiteY11" fmla="*/ 23605 h 85551"/>
                <a:gd name="connsiteX12" fmla="*/ 3372 w 65943"/>
                <a:gd name="connsiteY12" fmla="*/ 14737 h 85551"/>
                <a:gd name="connsiteX13" fmla="*/ 36469 w 65943"/>
                <a:gd name="connsiteY13" fmla="*/ 0 h 85551"/>
                <a:gd name="connsiteX14" fmla="*/ 52580 w 65943"/>
                <a:gd name="connsiteY14" fmla="*/ 3622 h 85551"/>
                <a:gd name="connsiteX15" fmla="*/ 62572 w 65943"/>
                <a:gd name="connsiteY15" fmla="*/ 13863 h 85551"/>
                <a:gd name="connsiteX16" fmla="*/ 65944 w 65943"/>
                <a:gd name="connsiteY16" fmla="*/ 29350 h 85551"/>
                <a:gd name="connsiteX17" fmla="*/ 65944 w 65943"/>
                <a:gd name="connsiteY17" fmla="*/ 84053 h 85551"/>
                <a:gd name="connsiteX18" fmla="*/ 52830 w 65943"/>
                <a:gd name="connsiteY18" fmla="*/ 84053 h 85551"/>
                <a:gd name="connsiteX19" fmla="*/ 52830 w 65943"/>
                <a:gd name="connsiteY19" fmla="*/ 68691 h 85551"/>
                <a:gd name="connsiteX20" fmla="*/ 52580 w 65943"/>
                <a:gd name="connsiteY20" fmla="*/ 68691 h 85551"/>
                <a:gd name="connsiteX21" fmla="*/ 41964 w 65943"/>
                <a:gd name="connsiteY21" fmla="*/ 81555 h 85551"/>
                <a:gd name="connsiteX22" fmla="*/ 25353 w 65943"/>
                <a:gd name="connsiteY22" fmla="*/ 85552 h 85551"/>
                <a:gd name="connsiteX23" fmla="*/ 12364 w 65943"/>
                <a:gd name="connsiteY23" fmla="*/ 82679 h 85551"/>
                <a:gd name="connsiteX24" fmla="*/ 15861 w 65943"/>
                <a:gd name="connsiteY24" fmla="*/ 67817 h 85551"/>
                <a:gd name="connsiteX25" fmla="*/ 20982 w 65943"/>
                <a:gd name="connsiteY25" fmla="*/ 72313 h 85551"/>
                <a:gd name="connsiteX26" fmla="*/ 28850 w 65943"/>
                <a:gd name="connsiteY26" fmla="*/ 73812 h 85551"/>
                <a:gd name="connsiteX27" fmla="*/ 41340 w 65943"/>
                <a:gd name="connsiteY27" fmla="*/ 70939 h 85551"/>
                <a:gd name="connsiteX28" fmla="*/ 49333 w 65943"/>
                <a:gd name="connsiteY28" fmla="*/ 63196 h 85551"/>
                <a:gd name="connsiteX29" fmla="*/ 52080 w 65943"/>
                <a:gd name="connsiteY29" fmla="*/ 53080 h 85551"/>
                <a:gd name="connsiteX30" fmla="*/ 52080 w 65943"/>
                <a:gd name="connsiteY30" fmla="*/ 45086 h 85551"/>
                <a:gd name="connsiteX31" fmla="*/ 39216 w 65943"/>
                <a:gd name="connsiteY31" fmla="*/ 45086 h 85551"/>
                <a:gd name="connsiteX32" fmla="*/ 20982 w 65943"/>
                <a:gd name="connsiteY32" fmla="*/ 48583 h 85551"/>
                <a:gd name="connsiteX33" fmla="*/ 14113 w 65943"/>
                <a:gd name="connsiteY33" fmla="*/ 61073 h 85551"/>
                <a:gd name="connsiteX34" fmla="*/ 15861 w 65943"/>
                <a:gd name="connsiteY34" fmla="*/ 67817 h 8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5943" h="85551">
                  <a:moveTo>
                    <a:pt x="12115" y="82554"/>
                  </a:moveTo>
                  <a:cubicBezTo>
                    <a:pt x="8368" y="80681"/>
                    <a:pt x="5370" y="77933"/>
                    <a:pt x="3247" y="74311"/>
                  </a:cubicBezTo>
                  <a:cubicBezTo>
                    <a:pt x="1124" y="70690"/>
                    <a:pt x="0" y="66443"/>
                    <a:pt x="0" y="61323"/>
                  </a:cubicBezTo>
                  <a:cubicBezTo>
                    <a:pt x="0" y="55203"/>
                    <a:pt x="1624" y="50082"/>
                    <a:pt x="4871" y="46210"/>
                  </a:cubicBezTo>
                  <a:cubicBezTo>
                    <a:pt x="8118" y="42339"/>
                    <a:pt x="12489" y="39341"/>
                    <a:pt x="18110" y="37593"/>
                  </a:cubicBezTo>
                  <a:cubicBezTo>
                    <a:pt x="23730" y="35844"/>
                    <a:pt x="30224" y="34845"/>
                    <a:pt x="37593" y="34845"/>
                  </a:cubicBezTo>
                  <a:lnTo>
                    <a:pt x="52205" y="34845"/>
                  </a:lnTo>
                  <a:lnTo>
                    <a:pt x="52205" y="29225"/>
                  </a:lnTo>
                  <a:cubicBezTo>
                    <a:pt x="52205" y="23480"/>
                    <a:pt x="50832" y="18984"/>
                    <a:pt x="48084" y="15986"/>
                  </a:cubicBezTo>
                  <a:cubicBezTo>
                    <a:pt x="45336" y="12989"/>
                    <a:pt x="41090" y="11490"/>
                    <a:pt x="35595" y="11490"/>
                  </a:cubicBezTo>
                  <a:cubicBezTo>
                    <a:pt x="30474" y="11490"/>
                    <a:pt x="26103" y="12489"/>
                    <a:pt x="22231" y="14612"/>
                  </a:cubicBezTo>
                  <a:cubicBezTo>
                    <a:pt x="18484" y="16736"/>
                    <a:pt x="15112" y="19608"/>
                    <a:pt x="12240" y="23605"/>
                  </a:cubicBezTo>
                  <a:lnTo>
                    <a:pt x="3372" y="14737"/>
                  </a:lnTo>
                  <a:cubicBezTo>
                    <a:pt x="11615" y="4871"/>
                    <a:pt x="22606" y="0"/>
                    <a:pt x="36469" y="0"/>
                  </a:cubicBezTo>
                  <a:cubicBezTo>
                    <a:pt x="42838" y="0"/>
                    <a:pt x="48209" y="1249"/>
                    <a:pt x="52580" y="3622"/>
                  </a:cubicBezTo>
                  <a:cubicBezTo>
                    <a:pt x="56951" y="6120"/>
                    <a:pt x="60323" y="9492"/>
                    <a:pt x="62572" y="13863"/>
                  </a:cubicBezTo>
                  <a:cubicBezTo>
                    <a:pt x="64820" y="18234"/>
                    <a:pt x="65944" y="23355"/>
                    <a:pt x="65944" y="29350"/>
                  </a:cubicBezTo>
                  <a:lnTo>
                    <a:pt x="65944" y="84053"/>
                  </a:lnTo>
                  <a:lnTo>
                    <a:pt x="52830" y="84053"/>
                  </a:lnTo>
                  <a:lnTo>
                    <a:pt x="52830" y="68691"/>
                  </a:lnTo>
                  <a:lnTo>
                    <a:pt x="52580" y="68691"/>
                  </a:lnTo>
                  <a:cubicBezTo>
                    <a:pt x="49832" y="74561"/>
                    <a:pt x="46335" y="78808"/>
                    <a:pt x="41964" y="81555"/>
                  </a:cubicBezTo>
                  <a:cubicBezTo>
                    <a:pt x="37593" y="84303"/>
                    <a:pt x="32098" y="85552"/>
                    <a:pt x="25353" y="85552"/>
                  </a:cubicBezTo>
                  <a:cubicBezTo>
                    <a:pt x="20482" y="85552"/>
                    <a:pt x="16111" y="84553"/>
                    <a:pt x="12364" y="82679"/>
                  </a:cubicBezTo>
                  <a:close/>
                  <a:moveTo>
                    <a:pt x="15861" y="67817"/>
                  </a:moveTo>
                  <a:cubicBezTo>
                    <a:pt x="16985" y="69690"/>
                    <a:pt x="18734" y="71189"/>
                    <a:pt x="20982" y="72313"/>
                  </a:cubicBezTo>
                  <a:cubicBezTo>
                    <a:pt x="23230" y="73312"/>
                    <a:pt x="25853" y="73812"/>
                    <a:pt x="28850" y="73812"/>
                  </a:cubicBezTo>
                  <a:cubicBezTo>
                    <a:pt x="33721" y="73812"/>
                    <a:pt x="37843" y="72813"/>
                    <a:pt x="41340" y="70939"/>
                  </a:cubicBezTo>
                  <a:cubicBezTo>
                    <a:pt x="44837" y="68941"/>
                    <a:pt x="47459" y="66443"/>
                    <a:pt x="49333" y="63196"/>
                  </a:cubicBezTo>
                  <a:cubicBezTo>
                    <a:pt x="51206" y="59949"/>
                    <a:pt x="52080" y="56701"/>
                    <a:pt x="52080" y="53080"/>
                  </a:cubicBezTo>
                  <a:lnTo>
                    <a:pt x="52080" y="45086"/>
                  </a:lnTo>
                  <a:lnTo>
                    <a:pt x="39216" y="45086"/>
                  </a:lnTo>
                  <a:cubicBezTo>
                    <a:pt x="31598" y="45086"/>
                    <a:pt x="25603" y="46210"/>
                    <a:pt x="20982" y="48583"/>
                  </a:cubicBezTo>
                  <a:cubicBezTo>
                    <a:pt x="16361" y="50956"/>
                    <a:pt x="14113" y="55078"/>
                    <a:pt x="14113" y="61073"/>
                  </a:cubicBezTo>
                  <a:cubicBezTo>
                    <a:pt x="14113" y="63696"/>
                    <a:pt x="14737" y="65944"/>
                    <a:pt x="15861" y="67817"/>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1" name="Freeform: Shape 1160">
              <a:extLst>
                <a:ext uri="{FF2B5EF4-FFF2-40B4-BE49-F238E27FC236}">
                  <a16:creationId xmlns:a16="http://schemas.microsoft.com/office/drawing/2014/main" id="{5366644A-221F-6A10-C0E9-A212D3479FFA}"/>
                </a:ext>
              </a:extLst>
            </p:cNvPr>
            <p:cNvSpPr/>
            <p:nvPr/>
          </p:nvSpPr>
          <p:spPr>
            <a:xfrm>
              <a:off x="5111834" y="3733719"/>
              <a:ext cx="54901" cy="90820"/>
            </a:xfrm>
            <a:custGeom>
              <a:avLst/>
              <a:gdLst>
                <a:gd name="connsiteX0" fmla="*/ 8618 w 76934"/>
                <a:gd name="connsiteY0" fmla="*/ 121896 h 127266"/>
                <a:gd name="connsiteX1" fmla="*/ 0 w 76934"/>
                <a:gd name="connsiteY1" fmla="*/ 106784 h 127266"/>
                <a:gd name="connsiteX2" fmla="*/ 1998 w 76934"/>
                <a:gd name="connsiteY2" fmla="*/ 98666 h 127266"/>
                <a:gd name="connsiteX3" fmla="*/ 7369 w 76934"/>
                <a:gd name="connsiteY3" fmla="*/ 92546 h 127266"/>
                <a:gd name="connsiteX4" fmla="*/ 14862 w 76934"/>
                <a:gd name="connsiteY4" fmla="*/ 88799 h 127266"/>
                <a:gd name="connsiteX5" fmla="*/ 8243 w 76934"/>
                <a:gd name="connsiteY5" fmla="*/ 84428 h 127266"/>
                <a:gd name="connsiteX6" fmla="*/ 5870 w 76934"/>
                <a:gd name="connsiteY6" fmla="*/ 77309 h 127266"/>
                <a:gd name="connsiteX7" fmla="*/ 8867 w 76934"/>
                <a:gd name="connsiteY7" fmla="*/ 68816 h 127266"/>
                <a:gd name="connsiteX8" fmla="*/ 17360 w 76934"/>
                <a:gd name="connsiteY8" fmla="*/ 63196 h 127266"/>
                <a:gd name="connsiteX9" fmla="*/ 7494 w 76934"/>
                <a:gd name="connsiteY9" fmla="*/ 53205 h 127266"/>
                <a:gd name="connsiteX10" fmla="*/ 3996 w 76934"/>
                <a:gd name="connsiteY10" fmla="*/ 38717 h 127266"/>
                <a:gd name="connsiteX11" fmla="*/ 7743 w 76934"/>
                <a:gd name="connsiteY11" fmla="*/ 23855 h 127266"/>
                <a:gd name="connsiteX12" fmla="*/ 18734 w 76934"/>
                <a:gd name="connsiteY12" fmla="*/ 13239 h 127266"/>
                <a:gd name="connsiteX13" fmla="*/ 36344 w 76934"/>
                <a:gd name="connsiteY13" fmla="*/ 9367 h 127266"/>
                <a:gd name="connsiteX14" fmla="*/ 55203 w 76934"/>
                <a:gd name="connsiteY14" fmla="*/ 13738 h 127266"/>
                <a:gd name="connsiteX15" fmla="*/ 59324 w 76934"/>
                <a:gd name="connsiteY15" fmla="*/ 6245 h 127266"/>
                <a:gd name="connsiteX16" fmla="*/ 65069 w 76934"/>
                <a:gd name="connsiteY16" fmla="*/ 1624 h 127266"/>
                <a:gd name="connsiteX17" fmla="*/ 73063 w 76934"/>
                <a:gd name="connsiteY17" fmla="*/ 0 h 127266"/>
                <a:gd name="connsiteX18" fmla="*/ 75685 w 76934"/>
                <a:gd name="connsiteY18" fmla="*/ 0 h 127266"/>
                <a:gd name="connsiteX19" fmla="*/ 75685 w 76934"/>
                <a:gd name="connsiteY19" fmla="*/ 13738 h 127266"/>
                <a:gd name="connsiteX20" fmla="*/ 72813 w 76934"/>
                <a:gd name="connsiteY20" fmla="*/ 13738 h 127266"/>
                <a:gd name="connsiteX21" fmla="*/ 64570 w 76934"/>
                <a:gd name="connsiteY21" fmla="*/ 14488 h 127266"/>
                <a:gd name="connsiteX22" fmla="*/ 59449 w 76934"/>
                <a:gd name="connsiteY22" fmla="*/ 16736 h 127266"/>
                <a:gd name="connsiteX23" fmla="*/ 66068 w 76934"/>
                <a:gd name="connsiteY23" fmla="*/ 26352 h 127266"/>
                <a:gd name="connsiteX24" fmla="*/ 68317 w 76934"/>
                <a:gd name="connsiteY24" fmla="*/ 38592 h 127266"/>
                <a:gd name="connsiteX25" fmla="*/ 64570 w 76934"/>
                <a:gd name="connsiteY25" fmla="*/ 53080 h 127266"/>
                <a:gd name="connsiteX26" fmla="*/ 53454 w 76934"/>
                <a:gd name="connsiteY26" fmla="*/ 63446 h 127266"/>
                <a:gd name="connsiteX27" fmla="*/ 35844 w 76934"/>
                <a:gd name="connsiteY27" fmla="*/ 67317 h 127266"/>
                <a:gd name="connsiteX28" fmla="*/ 21482 w 76934"/>
                <a:gd name="connsiteY28" fmla="*/ 64820 h 127266"/>
                <a:gd name="connsiteX29" fmla="*/ 18609 w 76934"/>
                <a:gd name="connsiteY29" fmla="*/ 70440 h 127266"/>
                <a:gd name="connsiteX30" fmla="*/ 21107 w 76934"/>
                <a:gd name="connsiteY30" fmla="*/ 75436 h 127266"/>
                <a:gd name="connsiteX31" fmla="*/ 28101 w 76934"/>
                <a:gd name="connsiteY31" fmla="*/ 77933 h 127266"/>
                <a:gd name="connsiteX32" fmla="*/ 40965 w 76934"/>
                <a:gd name="connsiteY32" fmla="*/ 79057 h 127266"/>
                <a:gd name="connsiteX33" fmla="*/ 59824 w 76934"/>
                <a:gd name="connsiteY33" fmla="*/ 81181 h 127266"/>
                <a:gd name="connsiteX34" fmla="*/ 72063 w 76934"/>
                <a:gd name="connsiteY34" fmla="*/ 87300 h 127266"/>
                <a:gd name="connsiteX35" fmla="*/ 76934 w 76934"/>
                <a:gd name="connsiteY35" fmla="*/ 101039 h 127266"/>
                <a:gd name="connsiteX36" fmla="*/ 66818 w 76934"/>
                <a:gd name="connsiteY36" fmla="*/ 120897 h 127266"/>
                <a:gd name="connsiteX37" fmla="*/ 36594 w 76934"/>
                <a:gd name="connsiteY37" fmla="*/ 127266 h 127266"/>
                <a:gd name="connsiteX38" fmla="*/ 8742 w 76934"/>
                <a:gd name="connsiteY38" fmla="*/ 121646 h 127266"/>
                <a:gd name="connsiteX39" fmla="*/ 15736 w 76934"/>
                <a:gd name="connsiteY39" fmla="*/ 110780 h 127266"/>
                <a:gd name="connsiteX40" fmla="*/ 23230 w 76934"/>
                <a:gd name="connsiteY40" fmla="*/ 115152 h 127266"/>
                <a:gd name="connsiteX41" fmla="*/ 36968 w 76934"/>
                <a:gd name="connsiteY41" fmla="*/ 116525 h 127266"/>
                <a:gd name="connsiteX42" fmla="*/ 50831 w 76934"/>
                <a:gd name="connsiteY42" fmla="*/ 115276 h 127266"/>
                <a:gd name="connsiteX43" fmla="*/ 59324 w 76934"/>
                <a:gd name="connsiteY43" fmla="*/ 111030 h 127266"/>
                <a:gd name="connsiteX44" fmla="*/ 62322 w 76934"/>
                <a:gd name="connsiteY44" fmla="*/ 102787 h 127266"/>
                <a:gd name="connsiteX45" fmla="*/ 59699 w 76934"/>
                <a:gd name="connsiteY45" fmla="*/ 96418 h 127266"/>
                <a:gd name="connsiteX46" fmla="*/ 51956 w 76934"/>
                <a:gd name="connsiteY46" fmla="*/ 93420 h 127266"/>
                <a:gd name="connsiteX47" fmla="*/ 36968 w 76934"/>
                <a:gd name="connsiteY47" fmla="*/ 92171 h 127266"/>
                <a:gd name="connsiteX48" fmla="*/ 27601 w 76934"/>
                <a:gd name="connsiteY48" fmla="*/ 91547 h 127266"/>
                <a:gd name="connsiteX49" fmla="*/ 19983 w 76934"/>
                <a:gd name="connsiteY49" fmla="*/ 90423 h 127266"/>
                <a:gd name="connsiteX50" fmla="*/ 15112 w 76934"/>
                <a:gd name="connsiteY50" fmla="*/ 95668 h 127266"/>
                <a:gd name="connsiteX51" fmla="*/ 13363 w 76934"/>
                <a:gd name="connsiteY51" fmla="*/ 102787 h 127266"/>
                <a:gd name="connsiteX52" fmla="*/ 15736 w 76934"/>
                <a:gd name="connsiteY52" fmla="*/ 110780 h 127266"/>
                <a:gd name="connsiteX53" fmla="*/ 20108 w 76934"/>
                <a:gd name="connsiteY53" fmla="*/ 48708 h 127266"/>
                <a:gd name="connsiteX54" fmla="*/ 26352 w 76934"/>
                <a:gd name="connsiteY54" fmla="*/ 54703 h 127266"/>
                <a:gd name="connsiteX55" fmla="*/ 35470 w 76934"/>
                <a:gd name="connsiteY55" fmla="*/ 56702 h 127266"/>
                <a:gd name="connsiteX56" fmla="*/ 45336 w 76934"/>
                <a:gd name="connsiteY56" fmla="*/ 54453 h 127266"/>
                <a:gd name="connsiteX57" fmla="*/ 51831 w 76934"/>
                <a:gd name="connsiteY57" fmla="*/ 48084 h 127266"/>
                <a:gd name="connsiteX58" fmla="*/ 54079 w 76934"/>
                <a:gd name="connsiteY58" fmla="*/ 38717 h 127266"/>
                <a:gd name="connsiteX59" fmla="*/ 51956 w 76934"/>
                <a:gd name="connsiteY59" fmla="*/ 28850 h 127266"/>
                <a:gd name="connsiteX60" fmla="*/ 45836 w 76934"/>
                <a:gd name="connsiteY60" fmla="*/ 22356 h 127266"/>
                <a:gd name="connsiteX61" fmla="*/ 36344 w 76934"/>
                <a:gd name="connsiteY61" fmla="*/ 20108 h 127266"/>
                <a:gd name="connsiteX62" fmla="*/ 26602 w 76934"/>
                <a:gd name="connsiteY62" fmla="*/ 22356 h 127266"/>
                <a:gd name="connsiteX63" fmla="*/ 20233 w 76934"/>
                <a:gd name="connsiteY63" fmla="*/ 28850 h 127266"/>
                <a:gd name="connsiteX64" fmla="*/ 17985 w 76934"/>
                <a:gd name="connsiteY64" fmla="*/ 38717 h 127266"/>
                <a:gd name="connsiteX65" fmla="*/ 20233 w 76934"/>
                <a:gd name="connsiteY65" fmla="*/ 48708 h 1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6934" h="127266">
                  <a:moveTo>
                    <a:pt x="8618" y="121896"/>
                  </a:moveTo>
                  <a:cubicBezTo>
                    <a:pt x="2872" y="118149"/>
                    <a:pt x="0" y="113153"/>
                    <a:pt x="0" y="106784"/>
                  </a:cubicBezTo>
                  <a:cubicBezTo>
                    <a:pt x="0" y="103786"/>
                    <a:pt x="624" y="101039"/>
                    <a:pt x="1998" y="98666"/>
                  </a:cubicBezTo>
                  <a:cubicBezTo>
                    <a:pt x="3372" y="96293"/>
                    <a:pt x="5121" y="94294"/>
                    <a:pt x="7369" y="92546"/>
                  </a:cubicBezTo>
                  <a:cubicBezTo>
                    <a:pt x="9617" y="90922"/>
                    <a:pt x="12115" y="89673"/>
                    <a:pt x="14862" y="88799"/>
                  </a:cubicBezTo>
                  <a:cubicBezTo>
                    <a:pt x="11990" y="87675"/>
                    <a:pt x="9742" y="86301"/>
                    <a:pt x="8243" y="84428"/>
                  </a:cubicBezTo>
                  <a:cubicBezTo>
                    <a:pt x="6744" y="82554"/>
                    <a:pt x="5870" y="80181"/>
                    <a:pt x="5870" y="77309"/>
                  </a:cubicBezTo>
                  <a:cubicBezTo>
                    <a:pt x="5870" y="74062"/>
                    <a:pt x="6869" y="71189"/>
                    <a:pt x="8867" y="68816"/>
                  </a:cubicBezTo>
                  <a:cubicBezTo>
                    <a:pt x="10866" y="66318"/>
                    <a:pt x="13613" y="64445"/>
                    <a:pt x="17360" y="63196"/>
                  </a:cubicBezTo>
                  <a:cubicBezTo>
                    <a:pt x="13114" y="60698"/>
                    <a:pt x="9742" y="57451"/>
                    <a:pt x="7494" y="53205"/>
                  </a:cubicBezTo>
                  <a:cubicBezTo>
                    <a:pt x="5121" y="48958"/>
                    <a:pt x="3996" y="44212"/>
                    <a:pt x="3996" y="38717"/>
                  </a:cubicBezTo>
                  <a:cubicBezTo>
                    <a:pt x="3996" y="33222"/>
                    <a:pt x="5245" y="28351"/>
                    <a:pt x="7743" y="23855"/>
                  </a:cubicBezTo>
                  <a:cubicBezTo>
                    <a:pt x="10241" y="19358"/>
                    <a:pt x="13863" y="15861"/>
                    <a:pt x="18734" y="13239"/>
                  </a:cubicBezTo>
                  <a:cubicBezTo>
                    <a:pt x="23605" y="10616"/>
                    <a:pt x="29475" y="9367"/>
                    <a:pt x="36344" y="9367"/>
                  </a:cubicBezTo>
                  <a:cubicBezTo>
                    <a:pt x="43837" y="9367"/>
                    <a:pt x="50082" y="10866"/>
                    <a:pt x="55203" y="13738"/>
                  </a:cubicBezTo>
                  <a:cubicBezTo>
                    <a:pt x="56452" y="10741"/>
                    <a:pt x="57826" y="8243"/>
                    <a:pt x="59324" y="6245"/>
                  </a:cubicBezTo>
                  <a:cubicBezTo>
                    <a:pt x="60823" y="4246"/>
                    <a:pt x="62821" y="2748"/>
                    <a:pt x="65069" y="1624"/>
                  </a:cubicBezTo>
                  <a:cubicBezTo>
                    <a:pt x="67317" y="500"/>
                    <a:pt x="69940" y="0"/>
                    <a:pt x="73063" y="0"/>
                  </a:cubicBezTo>
                  <a:lnTo>
                    <a:pt x="75685" y="0"/>
                  </a:lnTo>
                  <a:lnTo>
                    <a:pt x="75685" y="13738"/>
                  </a:lnTo>
                  <a:lnTo>
                    <a:pt x="72813" y="13738"/>
                  </a:lnTo>
                  <a:cubicBezTo>
                    <a:pt x="69316" y="13738"/>
                    <a:pt x="66568" y="13988"/>
                    <a:pt x="64570" y="14488"/>
                  </a:cubicBezTo>
                  <a:cubicBezTo>
                    <a:pt x="62571" y="14987"/>
                    <a:pt x="60823" y="15737"/>
                    <a:pt x="59449" y="16736"/>
                  </a:cubicBezTo>
                  <a:cubicBezTo>
                    <a:pt x="62447" y="19358"/>
                    <a:pt x="64570" y="22606"/>
                    <a:pt x="66068" y="26352"/>
                  </a:cubicBezTo>
                  <a:cubicBezTo>
                    <a:pt x="67567" y="30099"/>
                    <a:pt x="68317" y="34221"/>
                    <a:pt x="68317" y="38592"/>
                  </a:cubicBezTo>
                  <a:cubicBezTo>
                    <a:pt x="68317" y="43838"/>
                    <a:pt x="67068" y="48708"/>
                    <a:pt x="64570" y="53080"/>
                  </a:cubicBezTo>
                  <a:cubicBezTo>
                    <a:pt x="62072" y="57451"/>
                    <a:pt x="58325" y="60948"/>
                    <a:pt x="53454" y="63446"/>
                  </a:cubicBezTo>
                  <a:cubicBezTo>
                    <a:pt x="48583" y="66069"/>
                    <a:pt x="42713" y="67317"/>
                    <a:pt x="35844" y="67317"/>
                  </a:cubicBezTo>
                  <a:cubicBezTo>
                    <a:pt x="30474" y="67317"/>
                    <a:pt x="25728" y="66568"/>
                    <a:pt x="21482" y="64820"/>
                  </a:cubicBezTo>
                  <a:cubicBezTo>
                    <a:pt x="19608" y="66193"/>
                    <a:pt x="18609" y="68067"/>
                    <a:pt x="18609" y="70440"/>
                  </a:cubicBezTo>
                  <a:cubicBezTo>
                    <a:pt x="18609" y="72688"/>
                    <a:pt x="19483" y="74311"/>
                    <a:pt x="21107" y="75436"/>
                  </a:cubicBezTo>
                  <a:cubicBezTo>
                    <a:pt x="22730" y="76559"/>
                    <a:pt x="25103" y="77434"/>
                    <a:pt x="28101" y="77933"/>
                  </a:cubicBezTo>
                  <a:cubicBezTo>
                    <a:pt x="31098" y="78433"/>
                    <a:pt x="35470" y="78808"/>
                    <a:pt x="40965" y="79057"/>
                  </a:cubicBezTo>
                  <a:cubicBezTo>
                    <a:pt x="48583" y="79432"/>
                    <a:pt x="54953" y="80181"/>
                    <a:pt x="59824" y="81181"/>
                  </a:cubicBezTo>
                  <a:cubicBezTo>
                    <a:pt x="64695" y="82180"/>
                    <a:pt x="68816" y="84178"/>
                    <a:pt x="72063" y="87300"/>
                  </a:cubicBezTo>
                  <a:cubicBezTo>
                    <a:pt x="75311" y="90423"/>
                    <a:pt x="76934" y="94919"/>
                    <a:pt x="76934" y="101039"/>
                  </a:cubicBezTo>
                  <a:cubicBezTo>
                    <a:pt x="76934" y="110031"/>
                    <a:pt x="73562" y="116650"/>
                    <a:pt x="66818" y="120897"/>
                  </a:cubicBezTo>
                  <a:cubicBezTo>
                    <a:pt x="60074" y="125143"/>
                    <a:pt x="49957" y="127266"/>
                    <a:pt x="36594" y="127266"/>
                  </a:cubicBezTo>
                  <a:cubicBezTo>
                    <a:pt x="23230" y="127266"/>
                    <a:pt x="14488" y="125393"/>
                    <a:pt x="8742" y="121646"/>
                  </a:cubicBezTo>
                  <a:close/>
                  <a:moveTo>
                    <a:pt x="15736" y="110780"/>
                  </a:moveTo>
                  <a:cubicBezTo>
                    <a:pt x="17360" y="112779"/>
                    <a:pt x="19858" y="114277"/>
                    <a:pt x="23230" y="115152"/>
                  </a:cubicBezTo>
                  <a:cubicBezTo>
                    <a:pt x="26727" y="116026"/>
                    <a:pt x="31223" y="116525"/>
                    <a:pt x="36968" y="116525"/>
                  </a:cubicBezTo>
                  <a:cubicBezTo>
                    <a:pt x="42713" y="116525"/>
                    <a:pt x="47210" y="116151"/>
                    <a:pt x="50831" y="115276"/>
                  </a:cubicBezTo>
                  <a:cubicBezTo>
                    <a:pt x="54453" y="114402"/>
                    <a:pt x="57326" y="113028"/>
                    <a:pt x="59324" y="111030"/>
                  </a:cubicBezTo>
                  <a:cubicBezTo>
                    <a:pt x="61323" y="109032"/>
                    <a:pt x="62322" y="106284"/>
                    <a:pt x="62322" y="102787"/>
                  </a:cubicBezTo>
                  <a:cubicBezTo>
                    <a:pt x="62322" y="100039"/>
                    <a:pt x="61447" y="97916"/>
                    <a:pt x="59699" y="96418"/>
                  </a:cubicBezTo>
                  <a:cubicBezTo>
                    <a:pt x="57950" y="95044"/>
                    <a:pt x="55328" y="94045"/>
                    <a:pt x="51956" y="93420"/>
                  </a:cubicBezTo>
                  <a:cubicBezTo>
                    <a:pt x="48459" y="92921"/>
                    <a:pt x="43463" y="92421"/>
                    <a:pt x="36968" y="92171"/>
                  </a:cubicBezTo>
                  <a:cubicBezTo>
                    <a:pt x="33471" y="92046"/>
                    <a:pt x="30349" y="91796"/>
                    <a:pt x="27601" y="91547"/>
                  </a:cubicBezTo>
                  <a:cubicBezTo>
                    <a:pt x="24854" y="91297"/>
                    <a:pt x="22231" y="90922"/>
                    <a:pt x="19983" y="90423"/>
                  </a:cubicBezTo>
                  <a:cubicBezTo>
                    <a:pt x="17860" y="91921"/>
                    <a:pt x="16236" y="93670"/>
                    <a:pt x="15112" y="95668"/>
                  </a:cubicBezTo>
                  <a:cubicBezTo>
                    <a:pt x="13988" y="97666"/>
                    <a:pt x="13363" y="100039"/>
                    <a:pt x="13363" y="102787"/>
                  </a:cubicBezTo>
                  <a:cubicBezTo>
                    <a:pt x="13363" y="106034"/>
                    <a:pt x="14113" y="108782"/>
                    <a:pt x="15736" y="110780"/>
                  </a:cubicBezTo>
                  <a:close/>
                  <a:moveTo>
                    <a:pt x="20108" y="48708"/>
                  </a:moveTo>
                  <a:cubicBezTo>
                    <a:pt x="21606" y="51456"/>
                    <a:pt x="23730" y="53454"/>
                    <a:pt x="26352" y="54703"/>
                  </a:cubicBezTo>
                  <a:cubicBezTo>
                    <a:pt x="28975" y="56077"/>
                    <a:pt x="32097" y="56702"/>
                    <a:pt x="35470" y="56702"/>
                  </a:cubicBezTo>
                  <a:cubicBezTo>
                    <a:pt x="39216" y="56702"/>
                    <a:pt x="42464" y="55952"/>
                    <a:pt x="45336" y="54453"/>
                  </a:cubicBezTo>
                  <a:cubicBezTo>
                    <a:pt x="48209" y="52955"/>
                    <a:pt x="50332" y="50832"/>
                    <a:pt x="51831" y="48084"/>
                  </a:cubicBezTo>
                  <a:cubicBezTo>
                    <a:pt x="53329" y="45336"/>
                    <a:pt x="54079" y="42214"/>
                    <a:pt x="54079" y="38717"/>
                  </a:cubicBezTo>
                  <a:cubicBezTo>
                    <a:pt x="54079" y="34970"/>
                    <a:pt x="53329" y="31723"/>
                    <a:pt x="51956" y="28850"/>
                  </a:cubicBezTo>
                  <a:cubicBezTo>
                    <a:pt x="50582" y="26103"/>
                    <a:pt x="48459" y="23855"/>
                    <a:pt x="45836" y="22356"/>
                  </a:cubicBezTo>
                  <a:cubicBezTo>
                    <a:pt x="43088" y="20857"/>
                    <a:pt x="39966" y="20108"/>
                    <a:pt x="36344" y="20108"/>
                  </a:cubicBezTo>
                  <a:cubicBezTo>
                    <a:pt x="32722" y="20108"/>
                    <a:pt x="29350" y="20857"/>
                    <a:pt x="26602" y="22356"/>
                  </a:cubicBezTo>
                  <a:cubicBezTo>
                    <a:pt x="23855" y="23855"/>
                    <a:pt x="21731" y="26103"/>
                    <a:pt x="20233" y="28850"/>
                  </a:cubicBezTo>
                  <a:cubicBezTo>
                    <a:pt x="18734" y="31598"/>
                    <a:pt x="17985" y="34970"/>
                    <a:pt x="17985" y="38717"/>
                  </a:cubicBezTo>
                  <a:cubicBezTo>
                    <a:pt x="17985" y="42713"/>
                    <a:pt x="18734" y="45961"/>
                    <a:pt x="20233" y="48708"/>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2" name="Freeform: Shape 1161">
              <a:extLst>
                <a:ext uri="{FF2B5EF4-FFF2-40B4-BE49-F238E27FC236}">
                  <a16:creationId xmlns:a16="http://schemas.microsoft.com/office/drawing/2014/main" id="{298FBC05-3B30-AFAD-25CB-ADE154F685C1}"/>
                </a:ext>
              </a:extLst>
            </p:cNvPr>
            <p:cNvSpPr/>
            <p:nvPr/>
          </p:nvSpPr>
          <p:spPr>
            <a:xfrm>
              <a:off x="5168874" y="3740403"/>
              <a:ext cx="54010" cy="61229"/>
            </a:xfrm>
            <a:custGeom>
              <a:avLst/>
              <a:gdLst>
                <a:gd name="connsiteX0" fmla="*/ 19608 w 75685"/>
                <a:gd name="connsiteY0" fmla="*/ 80681 h 85801"/>
                <a:gd name="connsiteX1" fmla="*/ 5121 w 75685"/>
                <a:gd name="connsiteY1" fmla="*/ 66069 h 85801"/>
                <a:gd name="connsiteX2" fmla="*/ 0 w 75685"/>
                <a:gd name="connsiteY2" fmla="*/ 42838 h 85801"/>
                <a:gd name="connsiteX3" fmla="*/ 5370 w 75685"/>
                <a:gd name="connsiteY3" fmla="*/ 19358 h 85801"/>
                <a:gd name="connsiteX4" fmla="*/ 19858 w 75685"/>
                <a:gd name="connsiteY4" fmla="*/ 4871 h 85801"/>
                <a:gd name="connsiteX5" fmla="*/ 39841 w 75685"/>
                <a:gd name="connsiteY5" fmla="*/ 0 h 85801"/>
                <a:gd name="connsiteX6" fmla="*/ 60448 w 75685"/>
                <a:gd name="connsiteY6" fmla="*/ 5870 h 85801"/>
                <a:gd name="connsiteX7" fmla="*/ 72063 w 75685"/>
                <a:gd name="connsiteY7" fmla="*/ 20732 h 85801"/>
                <a:gd name="connsiteX8" fmla="*/ 75685 w 75685"/>
                <a:gd name="connsiteY8" fmla="*/ 39841 h 85801"/>
                <a:gd name="connsiteX9" fmla="*/ 75436 w 75685"/>
                <a:gd name="connsiteY9" fmla="*/ 46210 h 85801"/>
                <a:gd name="connsiteX10" fmla="*/ 14238 w 75685"/>
                <a:gd name="connsiteY10" fmla="*/ 46210 h 85801"/>
                <a:gd name="connsiteX11" fmla="*/ 21856 w 75685"/>
                <a:gd name="connsiteY11" fmla="*/ 66818 h 85801"/>
                <a:gd name="connsiteX12" fmla="*/ 41340 w 75685"/>
                <a:gd name="connsiteY12" fmla="*/ 73937 h 85801"/>
                <a:gd name="connsiteX13" fmla="*/ 54329 w 75685"/>
                <a:gd name="connsiteY13" fmla="*/ 71689 h 85801"/>
                <a:gd name="connsiteX14" fmla="*/ 64195 w 75685"/>
                <a:gd name="connsiteY14" fmla="*/ 64195 h 85801"/>
                <a:gd name="connsiteX15" fmla="*/ 72813 w 75685"/>
                <a:gd name="connsiteY15" fmla="*/ 72688 h 85801"/>
                <a:gd name="connsiteX16" fmla="*/ 64195 w 75685"/>
                <a:gd name="connsiteY16" fmla="*/ 80181 h 85801"/>
                <a:gd name="connsiteX17" fmla="*/ 54079 w 75685"/>
                <a:gd name="connsiteY17" fmla="*/ 84428 h 85801"/>
                <a:gd name="connsiteX18" fmla="*/ 41215 w 75685"/>
                <a:gd name="connsiteY18" fmla="*/ 85802 h 85801"/>
                <a:gd name="connsiteX19" fmla="*/ 19358 w 75685"/>
                <a:gd name="connsiteY19" fmla="*/ 80931 h 85801"/>
                <a:gd name="connsiteX20" fmla="*/ 61947 w 75685"/>
                <a:gd name="connsiteY20" fmla="*/ 35719 h 85801"/>
                <a:gd name="connsiteX21" fmla="*/ 55078 w 75685"/>
                <a:gd name="connsiteY21" fmla="*/ 17860 h 85801"/>
                <a:gd name="connsiteX22" fmla="*/ 39466 w 75685"/>
                <a:gd name="connsiteY22" fmla="*/ 11865 h 85801"/>
                <a:gd name="connsiteX23" fmla="*/ 27976 w 75685"/>
                <a:gd name="connsiteY23" fmla="*/ 14488 h 85801"/>
                <a:gd name="connsiteX24" fmla="*/ 19483 w 75685"/>
                <a:gd name="connsiteY24" fmla="*/ 22481 h 85801"/>
                <a:gd name="connsiteX25" fmla="*/ 14987 w 75685"/>
                <a:gd name="connsiteY25" fmla="*/ 35719 h 85801"/>
                <a:gd name="connsiteX26" fmla="*/ 62072 w 75685"/>
                <a:gd name="connsiteY26" fmla="*/ 35719 h 8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685" h="85801">
                  <a:moveTo>
                    <a:pt x="19608" y="80681"/>
                  </a:moveTo>
                  <a:cubicBezTo>
                    <a:pt x="13364" y="77434"/>
                    <a:pt x="8618" y="72563"/>
                    <a:pt x="5121" y="66069"/>
                  </a:cubicBezTo>
                  <a:cubicBezTo>
                    <a:pt x="1748" y="59699"/>
                    <a:pt x="0" y="51831"/>
                    <a:pt x="0" y="42838"/>
                  </a:cubicBezTo>
                  <a:cubicBezTo>
                    <a:pt x="0" y="33846"/>
                    <a:pt x="1748" y="25853"/>
                    <a:pt x="5370" y="19358"/>
                  </a:cubicBezTo>
                  <a:cubicBezTo>
                    <a:pt x="8992" y="12864"/>
                    <a:pt x="13863" y="8118"/>
                    <a:pt x="19858" y="4871"/>
                  </a:cubicBezTo>
                  <a:cubicBezTo>
                    <a:pt x="25853" y="1624"/>
                    <a:pt x="32597" y="0"/>
                    <a:pt x="39841" y="0"/>
                  </a:cubicBezTo>
                  <a:cubicBezTo>
                    <a:pt x="48209" y="0"/>
                    <a:pt x="55078" y="1998"/>
                    <a:pt x="60448" y="5870"/>
                  </a:cubicBezTo>
                  <a:cubicBezTo>
                    <a:pt x="65819" y="9742"/>
                    <a:pt x="69690" y="14737"/>
                    <a:pt x="72063" y="20732"/>
                  </a:cubicBezTo>
                  <a:cubicBezTo>
                    <a:pt x="74436" y="26727"/>
                    <a:pt x="75685" y="33097"/>
                    <a:pt x="75685" y="39841"/>
                  </a:cubicBezTo>
                  <a:cubicBezTo>
                    <a:pt x="75685" y="42089"/>
                    <a:pt x="75685" y="44212"/>
                    <a:pt x="75436" y="46210"/>
                  </a:cubicBezTo>
                  <a:lnTo>
                    <a:pt x="14238" y="46210"/>
                  </a:lnTo>
                  <a:cubicBezTo>
                    <a:pt x="14737" y="55203"/>
                    <a:pt x="17235" y="62072"/>
                    <a:pt x="21856" y="66818"/>
                  </a:cubicBezTo>
                  <a:cubicBezTo>
                    <a:pt x="26477" y="71564"/>
                    <a:pt x="32847" y="73937"/>
                    <a:pt x="41340" y="73937"/>
                  </a:cubicBezTo>
                  <a:cubicBezTo>
                    <a:pt x="46460" y="73937"/>
                    <a:pt x="50707" y="73187"/>
                    <a:pt x="54329" y="71689"/>
                  </a:cubicBezTo>
                  <a:cubicBezTo>
                    <a:pt x="57950" y="70190"/>
                    <a:pt x="61198" y="67692"/>
                    <a:pt x="64195" y="64195"/>
                  </a:cubicBezTo>
                  <a:lnTo>
                    <a:pt x="72813" y="72688"/>
                  </a:lnTo>
                  <a:cubicBezTo>
                    <a:pt x="70065" y="75685"/>
                    <a:pt x="67193" y="78183"/>
                    <a:pt x="64195" y="80181"/>
                  </a:cubicBezTo>
                  <a:cubicBezTo>
                    <a:pt x="61198" y="82055"/>
                    <a:pt x="57826" y="83429"/>
                    <a:pt x="54079" y="84428"/>
                  </a:cubicBezTo>
                  <a:cubicBezTo>
                    <a:pt x="50332" y="85302"/>
                    <a:pt x="46086" y="85802"/>
                    <a:pt x="41215" y="85802"/>
                  </a:cubicBezTo>
                  <a:cubicBezTo>
                    <a:pt x="32847" y="85802"/>
                    <a:pt x="25478" y="84178"/>
                    <a:pt x="19358" y="80931"/>
                  </a:cubicBezTo>
                  <a:close/>
                  <a:moveTo>
                    <a:pt x="61947" y="35719"/>
                  </a:moveTo>
                  <a:cubicBezTo>
                    <a:pt x="61198" y="27851"/>
                    <a:pt x="58950" y="21856"/>
                    <a:pt x="55078" y="17860"/>
                  </a:cubicBezTo>
                  <a:cubicBezTo>
                    <a:pt x="51206" y="13863"/>
                    <a:pt x="45961" y="11865"/>
                    <a:pt x="39466" y="11865"/>
                  </a:cubicBezTo>
                  <a:cubicBezTo>
                    <a:pt x="35220" y="11865"/>
                    <a:pt x="31348" y="12739"/>
                    <a:pt x="27976" y="14488"/>
                  </a:cubicBezTo>
                  <a:cubicBezTo>
                    <a:pt x="24604" y="16236"/>
                    <a:pt x="21731" y="18984"/>
                    <a:pt x="19483" y="22481"/>
                  </a:cubicBezTo>
                  <a:cubicBezTo>
                    <a:pt x="17235" y="25978"/>
                    <a:pt x="15737" y="30474"/>
                    <a:pt x="14987" y="35719"/>
                  </a:cubicBezTo>
                  <a:lnTo>
                    <a:pt x="62072" y="35719"/>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3" name="Freeform: Shape 1162">
              <a:extLst>
                <a:ext uri="{FF2B5EF4-FFF2-40B4-BE49-F238E27FC236}">
                  <a16:creationId xmlns:a16="http://schemas.microsoft.com/office/drawing/2014/main" id="{D9CEA57D-98D1-9992-D3C5-834E6C0B89E5}"/>
                </a:ext>
              </a:extLst>
            </p:cNvPr>
            <p:cNvSpPr/>
            <p:nvPr/>
          </p:nvSpPr>
          <p:spPr>
            <a:xfrm>
              <a:off x="5234470" y="3740403"/>
              <a:ext cx="78073" cy="60160"/>
            </a:xfrm>
            <a:custGeom>
              <a:avLst/>
              <a:gdLst>
                <a:gd name="connsiteX0" fmla="*/ 250 w 109406"/>
                <a:gd name="connsiteY0" fmla="*/ 1624 h 84302"/>
                <a:gd name="connsiteX1" fmla="*/ 13364 w 109406"/>
                <a:gd name="connsiteY1" fmla="*/ 1624 h 84302"/>
                <a:gd name="connsiteX2" fmla="*/ 13364 w 109406"/>
                <a:gd name="connsiteY2" fmla="*/ 18734 h 84302"/>
                <a:gd name="connsiteX3" fmla="*/ 13614 w 109406"/>
                <a:gd name="connsiteY3" fmla="*/ 18734 h 84302"/>
                <a:gd name="connsiteX4" fmla="*/ 22856 w 109406"/>
                <a:gd name="connsiteY4" fmla="*/ 4871 h 84302"/>
                <a:gd name="connsiteX5" fmla="*/ 37718 w 109406"/>
                <a:gd name="connsiteY5" fmla="*/ 0 h 84302"/>
                <a:gd name="connsiteX6" fmla="*/ 52206 w 109406"/>
                <a:gd name="connsiteY6" fmla="*/ 4746 h 84302"/>
                <a:gd name="connsiteX7" fmla="*/ 60199 w 109406"/>
                <a:gd name="connsiteY7" fmla="*/ 18859 h 84302"/>
                <a:gd name="connsiteX8" fmla="*/ 60449 w 109406"/>
                <a:gd name="connsiteY8" fmla="*/ 18859 h 84302"/>
                <a:gd name="connsiteX9" fmla="*/ 65944 w 109406"/>
                <a:gd name="connsiteY9" fmla="*/ 8368 h 84302"/>
                <a:gd name="connsiteX10" fmla="*/ 74561 w 109406"/>
                <a:gd name="connsiteY10" fmla="*/ 2123 h 84302"/>
                <a:gd name="connsiteX11" fmla="*/ 85302 w 109406"/>
                <a:gd name="connsiteY11" fmla="*/ 125 h 84302"/>
                <a:gd name="connsiteX12" fmla="*/ 103287 w 109406"/>
                <a:gd name="connsiteY12" fmla="*/ 7119 h 84302"/>
                <a:gd name="connsiteX13" fmla="*/ 109407 w 109406"/>
                <a:gd name="connsiteY13" fmla="*/ 29100 h 84302"/>
                <a:gd name="connsiteX14" fmla="*/ 109407 w 109406"/>
                <a:gd name="connsiteY14" fmla="*/ 84053 h 84302"/>
                <a:gd name="connsiteX15" fmla="*/ 95668 w 109406"/>
                <a:gd name="connsiteY15" fmla="*/ 84053 h 84302"/>
                <a:gd name="connsiteX16" fmla="*/ 95668 w 109406"/>
                <a:gd name="connsiteY16" fmla="*/ 31723 h 84302"/>
                <a:gd name="connsiteX17" fmla="*/ 92171 w 109406"/>
                <a:gd name="connsiteY17" fmla="*/ 17235 h 84302"/>
                <a:gd name="connsiteX18" fmla="*/ 80806 w 109406"/>
                <a:gd name="connsiteY18" fmla="*/ 12240 h 84302"/>
                <a:gd name="connsiteX19" fmla="*/ 70565 w 109406"/>
                <a:gd name="connsiteY19" fmla="*/ 15112 h 84302"/>
                <a:gd name="connsiteX20" fmla="*/ 63946 w 109406"/>
                <a:gd name="connsiteY20" fmla="*/ 23355 h 84302"/>
                <a:gd name="connsiteX21" fmla="*/ 61573 w 109406"/>
                <a:gd name="connsiteY21" fmla="*/ 36344 h 84302"/>
                <a:gd name="connsiteX22" fmla="*/ 61573 w 109406"/>
                <a:gd name="connsiteY22" fmla="*/ 84178 h 84302"/>
                <a:gd name="connsiteX23" fmla="*/ 47834 w 109406"/>
                <a:gd name="connsiteY23" fmla="*/ 84178 h 84302"/>
                <a:gd name="connsiteX24" fmla="*/ 47834 w 109406"/>
                <a:gd name="connsiteY24" fmla="*/ 31848 h 84302"/>
                <a:gd name="connsiteX25" fmla="*/ 44337 w 109406"/>
                <a:gd name="connsiteY25" fmla="*/ 17360 h 84302"/>
                <a:gd name="connsiteX26" fmla="*/ 32847 w 109406"/>
                <a:gd name="connsiteY26" fmla="*/ 12364 h 84302"/>
                <a:gd name="connsiteX27" fmla="*/ 22731 w 109406"/>
                <a:gd name="connsiteY27" fmla="*/ 15237 h 84302"/>
                <a:gd name="connsiteX28" fmla="*/ 16111 w 109406"/>
                <a:gd name="connsiteY28" fmla="*/ 23480 h 84302"/>
                <a:gd name="connsiteX29" fmla="*/ 13738 w 109406"/>
                <a:gd name="connsiteY29" fmla="*/ 36469 h 84302"/>
                <a:gd name="connsiteX30" fmla="*/ 13738 w 109406"/>
                <a:gd name="connsiteY30" fmla="*/ 84303 h 84302"/>
                <a:gd name="connsiteX31" fmla="*/ 0 w 109406"/>
                <a:gd name="connsiteY31" fmla="*/ 84303 h 84302"/>
                <a:gd name="connsiteX32" fmla="*/ 0 w 109406"/>
                <a:gd name="connsiteY32" fmla="*/ 1873 h 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9406" h="84302">
                  <a:moveTo>
                    <a:pt x="250" y="1624"/>
                  </a:moveTo>
                  <a:lnTo>
                    <a:pt x="13364" y="1624"/>
                  </a:lnTo>
                  <a:lnTo>
                    <a:pt x="13364" y="18734"/>
                  </a:lnTo>
                  <a:lnTo>
                    <a:pt x="13614" y="18734"/>
                  </a:lnTo>
                  <a:cubicBezTo>
                    <a:pt x="15612" y="12739"/>
                    <a:pt x="18734" y="8118"/>
                    <a:pt x="22856" y="4871"/>
                  </a:cubicBezTo>
                  <a:cubicBezTo>
                    <a:pt x="26977" y="1624"/>
                    <a:pt x="31973" y="0"/>
                    <a:pt x="37718" y="0"/>
                  </a:cubicBezTo>
                  <a:cubicBezTo>
                    <a:pt x="43463" y="0"/>
                    <a:pt x="48209" y="1499"/>
                    <a:pt x="52206" y="4746"/>
                  </a:cubicBezTo>
                  <a:cubicBezTo>
                    <a:pt x="56202" y="7868"/>
                    <a:pt x="58825" y="12614"/>
                    <a:pt x="60199" y="18859"/>
                  </a:cubicBezTo>
                  <a:lnTo>
                    <a:pt x="60449" y="18859"/>
                  </a:lnTo>
                  <a:cubicBezTo>
                    <a:pt x="61697" y="14612"/>
                    <a:pt x="63446" y="11115"/>
                    <a:pt x="65944" y="8368"/>
                  </a:cubicBezTo>
                  <a:cubicBezTo>
                    <a:pt x="68442" y="5620"/>
                    <a:pt x="71314" y="3497"/>
                    <a:pt x="74561" y="2123"/>
                  </a:cubicBezTo>
                  <a:cubicBezTo>
                    <a:pt x="77934" y="749"/>
                    <a:pt x="81431" y="125"/>
                    <a:pt x="85302" y="125"/>
                  </a:cubicBezTo>
                  <a:cubicBezTo>
                    <a:pt x="93171" y="125"/>
                    <a:pt x="99290" y="2498"/>
                    <a:pt x="103287" y="7119"/>
                  </a:cubicBezTo>
                  <a:cubicBezTo>
                    <a:pt x="107408" y="11740"/>
                    <a:pt x="109407" y="19109"/>
                    <a:pt x="109407" y="29100"/>
                  </a:cubicBezTo>
                  <a:lnTo>
                    <a:pt x="109407" y="84053"/>
                  </a:lnTo>
                  <a:lnTo>
                    <a:pt x="95668" y="84053"/>
                  </a:lnTo>
                  <a:lnTo>
                    <a:pt x="95668" y="31723"/>
                  </a:lnTo>
                  <a:cubicBezTo>
                    <a:pt x="95668" y="25353"/>
                    <a:pt x="94544" y="20482"/>
                    <a:pt x="92171" y="17235"/>
                  </a:cubicBezTo>
                  <a:cubicBezTo>
                    <a:pt x="89798" y="13988"/>
                    <a:pt x="86052" y="12240"/>
                    <a:pt x="80806" y="12240"/>
                  </a:cubicBezTo>
                  <a:cubicBezTo>
                    <a:pt x="76934" y="12240"/>
                    <a:pt x="73437" y="13239"/>
                    <a:pt x="70565" y="15112"/>
                  </a:cubicBezTo>
                  <a:cubicBezTo>
                    <a:pt x="67692" y="16985"/>
                    <a:pt x="65444" y="19733"/>
                    <a:pt x="63946" y="23355"/>
                  </a:cubicBezTo>
                  <a:cubicBezTo>
                    <a:pt x="62447" y="26977"/>
                    <a:pt x="61573" y="31223"/>
                    <a:pt x="61573" y="36344"/>
                  </a:cubicBezTo>
                  <a:lnTo>
                    <a:pt x="61573" y="84178"/>
                  </a:lnTo>
                  <a:lnTo>
                    <a:pt x="47834" y="84178"/>
                  </a:lnTo>
                  <a:lnTo>
                    <a:pt x="47834" y="31848"/>
                  </a:lnTo>
                  <a:cubicBezTo>
                    <a:pt x="47834" y="25478"/>
                    <a:pt x="46710" y="20607"/>
                    <a:pt x="44337" y="17360"/>
                  </a:cubicBezTo>
                  <a:cubicBezTo>
                    <a:pt x="42089" y="13988"/>
                    <a:pt x="38217" y="12364"/>
                    <a:pt x="32847" y="12364"/>
                  </a:cubicBezTo>
                  <a:cubicBezTo>
                    <a:pt x="28975" y="12364"/>
                    <a:pt x="25603" y="13364"/>
                    <a:pt x="22731" y="15237"/>
                  </a:cubicBezTo>
                  <a:cubicBezTo>
                    <a:pt x="19858" y="17110"/>
                    <a:pt x="17610" y="19858"/>
                    <a:pt x="16111" y="23480"/>
                  </a:cubicBezTo>
                  <a:cubicBezTo>
                    <a:pt x="14488" y="27102"/>
                    <a:pt x="13738" y="31348"/>
                    <a:pt x="13738" y="36469"/>
                  </a:cubicBezTo>
                  <a:lnTo>
                    <a:pt x="13738" y="84303"/>
                  </a:lnTo>
                  <a:lnTo>
                    <a:pt x="0" y="84303"/>
                  </a:lnTo>
                  <a:lnTo>
                    <a:pt x="0" y="1873"/>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4" name="Freeform: Shape 1163">
              <a:extLst>
                <a:ext uri="{FF2B5EF4-FFF2-40B4-BE49-F238E27FC236}">
                  <a16:creationId xmlns:a16="http://schemas.microsoft.com/office/drawing/2014/main" id="{0D8C2690-D19F-6A57-773A-6EDC486F2BE4}"/>
                </a:ext>
              </a:extLst>
            </p:cNvPr>
            <p:cNvSpPr/>
            <p:nvPr/>
          </p:nvSpPr>
          <p:spPr>
            <a:xfrm>
              <a:off x="5323774" y="3740403"/>
              <a:ext cx="54099" cy="61229"/>
            </a:xfrm>
            <a:custGeom>
              <a:avLst/>
              <a:gdLst>
                <a:gd name="connsiteX0" fmla="*/ 19608 w 75810"/>
                <a:gd name="connsiteY0" fmla="*/ 80681 h 85801"/>
                <a:gd name="connsiteX1" fmla="*/ 5121 w 75810"/>
                <a:gd name="connsiteY1" fmla="*/ 66069 h 85801"/>
                <a:gd name="connsiteX2" fmla="*/ 0 w 75810"/>
                <a:gd name="connsiteY2" fmla="*/ 42838 h 85801"/>
                <a:gd name="connsiteX3" fmla="*/ 5370 w 75810"/>
                <a:gd name="connsiteY3" fmla="*/ 19358 h 85801"/>
                <a:gd name="connsiteX4" fmla="*/ 19858 w 75810"/>
                <a:gd name="connsiteY4" fmla="*/ 4871 h 85801"/>
                <a:gd name="connsiteX5" fmla="*/ 39966 w 75810"/>
                <a:gd name="connsiteY5" fmla="*/ 0 h 85801"/>
                <a:gd name="connsiteX6" fmla="*/ 60573 w 75810"/>
                <a:gd name="connsiteY6" fmla="*/ 5870 h 85801"/>
                <a:gd name="connsiteX7" fmla="*/ 72188 w 75810"/>
                <a:gd name="connsiteY7" fmla="*/ 20732 h 85801"/>
                <a:gd name="connsiteX8" fmla="*/ 75810 w 75810"/>
                <a:gd name="connsiteY8" fmla="*/ 39841 h 85801"/>
                <a:gd name="connsiteX9" fmla="*/ 75560 w 75810"/>
                <a:gd name="connsiteY9" fmla="*/ 46210 h 85801"/>
                <a:gd name="connsiteX10" fmla="*/ 14363 w 75810"/>
                <a:gd name="connsiteY10" fmla="*/ 46210 h 85801"/>
                <a:gd name="connsiteX11" fmla="*/ 21981 w 75810"/>
                <a:gd name="connsiteY11" fmla="*/ 66818 h 85801"/>
                <a:gd name="connsiteX12" fmla="*/ 41465 w 75810"/>
                <a:gd name="connsiteY12" fmla="*/ 73937 h 85801"/>
                <a:gd name="connsiteX13" fmla="*/ 54453 w 75810"/>
                <a:gd name="connsiteY13" fmla="*/ 71689 h 85801"/>
                <a:gd name="connsiteX14" fmla="*/ 64320 w 75810"/>
                <a:gd name="connsiteY14" fmla="*/ 64195 h 85801"/>
                <a:gd name="connsiteX15" fmla="*/ 72938 w 75810"/>
                <a:gd name="connsiteY15" fmla="*/ 72688 h 85801"/>
                <a:gd name="connsiteX16" fmla="*/ 64320 w 75810"/>
                <a:gd name="connsiteY16" fmla="*/ 80181 h 85801"/>
                <a:gd name="connsiteX17" fmla="*/ 54204 w 75810"/>
                <a:gd name="connsiteY17" fmla="*/ 84428 h 85801"/>
                <a:gd name="connsiteX18" fmla="*/ 41340 w 75810"/>
                <a:gd name="connsiteY18" fmla="*/ 85802 h 85801"/>
                <a:gd name="connsiteX19" fmla="*/ 19483 w 75810"/>
                <a:gd name="connsiteY19" fmla="*/ 80931 h 85801"/>
                <a:gd name="connsiteX20" fmla="*/ 61947 w 75810"/>
                <a:gd name="connsiteY20" fmla="*/ 35719 h 85801"/>
                <a:gd name="connsiteX21" fmla="*/ 54953 w 75810"/>
                <a:gd name="connsiteY21" fmla="*/ 17860 h 85801"/>
                <a:gd name="connsiteX22" fmla="*/ 39341 w 75810"/>
                <a:gd name="connsiteY22" fmla="*/ 11865 h 85801"/>
                <a:gd name="connsiteX23" fmla="*/ 27851 w 75810"/>
                <a:gd name="connsiteY23" fmla="*/ 14488 h 85801"/>
                <a:gd name="connsiteX24" fmla="*/ 19358 w 75810"/>
                <a:gd name="connsiteY24" fmla="*/ 22481 h 85801"/>
                <a:gd name="connsiteX25" fmla="*/ 14862 w 75810"/>
                <a:gd name="connsiteY25" fmla="*/ 35719 h 85801"/>
                <a:gd name="connsiteX26" fmla="*/ 61947 w 75810"/>
                <a:gd name="connsiteY26" fmla="*/ 35719 h 8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810" h="85801">
                  <a:moveTo>
                    <a:pt x="19608" y="80681"/>
                  </a:moveTo>
                  <a:cubicBezTo>
                    <a:pt x="13364" y="77434"/>
                    <a:pt x="8618" y="72563"/>
                    <a:pt x="5121" y="66069"/>
                  </a:cubicBezTo>
                  <a:cubicBezTo>
                    <a:pt x="1748" y="59699"/>
                    <a:pt x="0" y="51831"/>
                    <a:pt x="0" y="42838"/>
                  </a:cubicBezTo>
                  <a:cubicBezTo>
                    <a:pt x="0" y="33846"/>
                    <a:pt x="1748" y="25853"/>
                    <a:pt x="5370" y="19358"/>
                  </a:cubicBezTo>
                  <a:cubicBezTo>
                    <a:pt x="8992" y="12989"/>
                    <a:pt x="13863" y="8118"/>
                    <a:pt x="19858" y="4871"/>
                  </a:cubicBezTo>
                  <a:cubicBezTo>
                    <a:pt x="25853" y="1624"/>
                    <a:pt x="32597" y="0"/>
                    <a:pt x="39966" y="0"/>
                  </a:cubicBezTo>
                  <a:cubicBezTo>
                    <a:pt x="48334" y="0"/>
                    <a:pt x="55203" y="1998"/>
                    <a:pt x="60573" y="5870"/>
                  </a:cubicBezTo>
                  <a:cubicBezTo>
                    <a:pt x="65944" y="9742"/>
                    <a:pt x="69815" y="14737"/>
                    <a:pt x="72188" y="20732"/>
                  </a:cubicBezTo>
                  <a:cubicBezTo>
                    <a:pt x="74561" y="26727"/>
                    <a:pt x="75810" y="33097"/>
                    <a:pt x="75810" y="39841"/>
                  </a:cubicBezTo>
                  <a:cubicBezTo>
                    <a:pt x="75810" y="42089"/>
                    <a:pt x="75810" y="44212"/>
                    <a:pt x="75560" y="46210"/>
                  </a:cubicBezTo>
                  <a:lnTo>
                    <a:pt x="14363" y="46210"/>
                  </a:lnTo>
                  <a:cubicBezTo>
                    <a:pt x="14862" y="55203"/>
                    <a:pt x="17360" y="62072"/>
                    <a:pt x="21981" y="66818"/>
                  </a:cubicBezTo>
                  <a:cubicBezTo>
                    <a:pt x="26602" y="71564"/>
                    <a:pt x="32972" y="73937"/>
                    <a:pt x="41465" y="73937"/>
                  </a:cubicBezTo>
                  <a:cubicBezTo>
                    <a:pt x="46585" y="73937"/>
                    <a:pt x="50832" y="73187"/>
                    <a:pt x="54453" y="71689"/>
                  </a:cubicBezTo>
                  <a:cubicBezTo>
                    <a:pt x="58075" y="70190"/>
                    <a:pt x="61323" y="67692"/>
                    <a:pt x="64320" y="64195"/>
                  </a:cubicBezTo>
                  <a:lnTo>
                    <a:pt x="72938" y="72688"/>
                  </a:lnTo>
                  <a:cubicBezTo>
                    <a:pt x="70190" y="75685"/>
                    <a:pt x="67317" y="78183"/>
                    <a:pt x="64320" y="80181"/>
                  </a:cubicBezTo>
                  <a:cubicBezTo>
                    <a:pt x="61323" y="82055"/>
                    <a:pt x="57950" y="83429"/>
                    <a:pt x="54204" y="84428"/>
                  </a:cubicBezTo>
                  <a:cubicBezTo>
                    <a:pt x="50457" y="85302"/>
                    <a:pt x="46210" y="85802"/>
                    <a:pt x="41340" y="85802"/>
                  </a:cubicBezTo>
                  <a:cubicBezTo>
                    <a:pt x="32972" y="85802"/>
                    <a:pt x="25603" y="84178"/>
                    <a:pt x="19483" y="80931"/>
                  </a:cubicBezTo>
                  <a:close/>
                  <a:moveTo>
                    <a:pt x="61947" y="35719"/>
                  </a:moveTo>
                  <a:cubicBezTo>
                    <a:pt x="61198" y="27851"/>
                    <a:pt x="58950" y="21856"/>
                    <a:pt x="54953" y="17860"/>
                  </a:cubicBezTo>
                  <a:cubicBezTo>
                    <a:pt x="51081" y="13863"/>
                    <a:pt x="45836" y="11865"/>
                    <a:pt x="39341" y="11865"/>
                  </a:cubicBezTo>
                  <a:cubicBezTo>
                    <a:pt x="35095" y="11865"/>
                    <a:pt x="31223" y="12739"/>
                    <a:pt x="27851" y="14488"/>
                  </a:cubicBezTo>
                  <a:cubicBezTo>
                    <a:pt x="24479" y="16236"/>
                    <a:pt x="21606" y="18984"/>
                    <a:pt x="19358" y="22481"/>
                  </a:cubicBezTo>
                  <a:cubicBezTo>
                    <a:pt x="17110" y="25978"/>
                    <a:pt x="15612" y="30474"/>
                    <a:pt x="14862" y="35719"/>
                  </a:cubicBezTo>
                  <a:lnTo>
                    <a:pt x="61947" y="35719"/>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5" name="Freeform: Shape 1164">
              <a:extLst>
                <a:ext uri="{FF2B5EF4-FFF2-40B4-BE49-F238E27FC236}">
                  <a16:creationId xmlns:a16="http://schemas.microsoft.com/office/drawing/2014/main" id="{B739E609-0106-D651-6EB6-A04F13270B45}"/>
                </a:ext>
              </a:extLst>
            </p:cNvPr>
            <p:cNvSpPr/>
            <p:nvPr/>
          </p:nvSpPr>
          <p:spPr>
            <a:xfrm>
              <a:off x="5389459" y="3740403"/>
              <a:ext cx="47058" cy="60070"/>
            </a:xfrm>
            <a:custGeom>
              <a:avLst/>
              <a:gdLst>
                <a:gd name="connsiteX0" fmla="*/ 125 w 65943"/>
                <a:gd name="connsiteY0" fmla="*/ 1624 h 84177"/>
                <a:gd name="connsiteX1" fmla="*/ 13239 w 65943"/>
                <a:gd name="connsiteY1" fmla="*/ 1624 h 84177"/>
                <a:gd name="connsiteX2" fmla="*/ 13239 w 65943"/>
                <a:gd name="connsiteY2" fmla="*/ 18734 h 84177"/>
                <a:gd name="connsiteX3" fmla="*/ 13488 w 65943"/>
                <a:gd name="connsiteY3" fmla="*/ 18734 h 84177"/>
                <a:gd name="connsiteX4" fmla="*/ 22731 w 65943"/>
                <a:gd name="connsiteY4" fmla="*/ 5370 h 84177"/>
                <a:gd name="connsiteX5" fmla="*/ 40216 w 65943"/>
                <a:gd name="connsiteY5" fmla="*/ 0 h 84177"/>
                <a:gd name="connsiteX6" fmla="*/ 54453 w 65943"/>
                <a:gd name="connsiteY6" fmla="*/ 3622 h 84177"/>
                <a:gd name="connsiteX7" fmla="*/ 63071 w 65943"/>
                <a:gd name="connsiteY7" fmla="*/ 13738 h 84177"/>
                <a:gd name="connsiteX8" fmla="*/ 65944 w 65943"/>
                <a:gd name="connsiteY8" fmla="*/ 29100 h 84177"/>
                <a:gd name="connsiteX9" fmla="*/ 65944 w 65943"/>
                <a:gd name="connsiteY9" fmla="*/ 84053 h 84177"/>
                <a:gd name="connsiteX10" fmla="*/ 52205 w 65943"/>
                <a:gd name="connsiteY10" fmla="*/ 84053 h 84177"/>
                <a:gd name="connsiteX11" fmla="*/ 52205 w 65943"/>
                <a:gd name="connsiteY11" fmla="*/ 31723 h 84177"/>
                <a:gd name="connsiteX12" fmla="*/ 48209 w 65943"/>
                <a:gd name="connsiteY12" fmla="*/ 17235 h 84177"/>
                <a:gd name="connsiteX13" fmla="*/ 35220 w 65943"/>
                <a:gd name="connsiteY13" fmla="*/ 12240 h 84177"/>
                <a:gd name="connsiteX14" fmla="*/ 23855 w 65943"/>
                <a:gd name="connsiteY14" fmla="*/ 15112 h 84177"/>
                <a:gd name="connsiteX15" fmla="*/ 16361 w 65943"/>
                <a:gd name="connsiteY15" fmla="*/ 23355 h 84177"/>
                <a:gd name="connsiteX16" fmla="*/ 13738 w 65943"/>
                <a:gd name="connsiteY16" fmla="*/ 36344 h 84177"/>
                <a:gd name="connsiteX17" fmla="*/ 13738 w 65943"/>
                <a:gd name="connsiteY17" fmla="*/ 84178 h 84177"/>
                <a:gd name="connsiteX18" fmla="*/ 0 w 65943"/>
                <a:gd name="connsiteY18" fmla="*/ 84178 h 84177"/>
                <a:gd name="connsiteX19" fmla="*/ 0 w 65943"/>
                <a:gd name="connsiteY19" fmla="*/ 1748 h 84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943" h="84177">
                  <a:moveTo>
                    <a:pt x="125" y="1624"/>
                  </a:moveTo>
                  <a:lnTo>
                    <a:pt x="13239" y="1624"/>
                  </a:lnTo>
                  <a:lnTo>
                    <a:pt x="13239" y="18734"/>
                  </a:lnTo>
                  <a:lnTo>
                    <a:pt x="13488" y="18734"/>
                  </a:lnTo>
                  <a:cubicBezTo>
                    <a:pt x="15487" y="13364"/>
                    <a:pt x="18609" y="8992"/>
                    <a:pt x="22731" y="5370"/>
                  </a:cubicBezTo>
                  <a:cubicBezTo>
                    <a:pt x="26852" y="1748"/>
                    <a:pt x="32722" y="0"/>
                    <a:pt x="40216" y="0"/>
                  </a:cubicBezTo>
                  <a:cubicBezTo>
                    <a:pt x="45961" y="0"/>
                    <a:pt x="50707" y="1249"/>
                    <a:pt x="54453" y="3622"/>
                  </a:cubicBezTo>
                  <a:cubicBezTo>
                    <a:pt x="58325" y="5995"/>
                    <a:pt x="61198" y="9367"/>
                    <a:pt x="63071" y="13738"/>
                  </a:cubicBezTo>
                  <a:cubicBezTo>
                    <a:pt x="64945" y="18109"/>
                    <a:pt x="65944" y="23230"/>
                    <a:pt x="65944" y="29100"/>
                  </a:cubicBezTo>
                  <a:lnTo>
                    <a:pt x="65944" y="84053"/>
                  </a:lnTo>
                  <a:lnTo>
                    <a:pt x="52205" y="84053"/>
                  </a:lnTo>
                  <a:lnTo>
                    <a:pt x="52205" y="31723"/>
                  </a:lnTo>
                  <a:cubicBezTo>
                    <a:pt x="52205" y="25353"/>
                    <a:pt x="50832" y="20482"/>
                    <a:pt x="48209" y="17235"/>
                  </a:cubicBezTo>
                  <a:cubicBezTo>
                    <a:pt x="45586" y="13863"/>
                    <a:pt x="41215" y="12240"/>
                    <a:pt x="35220" y="12240"/>
                  </a:cubicBezTo>
                  <a:cubicBezTo>
                    <a:pt x="30849" y="12240"/>
                    <a:pt x="27102" y="13239"/>
                    <a:pt x="23855" y="15112"/>
                  </a:cubicBezTo>
                  <a:cubicBezTo>
                    <a:pt x="20607" y="16985"/>
                    <a:pt x="18110" y="19733"/>
                    <a:pt x="16361" y="23355"/>
                  </a:cubicBezTo>
                  <a:cubicBezTo>
                    <a:pt x="14612" y="26977"/>
                    <a:pt x="13738" y="31223"/>
                    <a:pt x="13738" y="36344"/>
                  </a:cubicBezTo>
                  <a:lnTo>
                    <a:pt x="13738" y="84178"/>
                  </a:lnTo>
                  <a:lnTo>
                    <a:pt x="0" y="84178"/>
                  </a:lnTo>
                  <a:lnTo>
                    <a:pt x="0" y="1748"/>
                  </a:ln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sp>
          <p:nvSpPr>
            <p:cNvPr id="26" name="Freeform: Shape 1165">
              <a:extLst>
                <a:ext uri="{FF2B5EF4-FFF2-40B4-BE49-F238E27FC236}">
                  <a16:creationId xmlns:a16="http://schemas.microsoft.com/office/drawing/2014/main" id="{0E5564BF-8A9A-0392-7A7D-05CF130982B7}"/>
                </a:ext>
              </a:extLst>
            </p:cNvPr>
            <p:cNvSpPr/>
            <p:nvPr/>
          </p:nvSpPr>
          <p:spPr>
            <a:xfrm>
              <a:off x="5443648" y="3727390"/>
              <a:ext cx="31728" cy="73975"/>
            </a:xfrm>
            <a:custGeom>
              <a:avLst/>
              <a:gdLst>
                <a:gd name="connsiteX0" fmla="*/ 21232 w 44461"/>
                <a:gd name="connsiteY0" fmla="*/ 101538 h 103661"/>
                <a:gd name="connsiteX1" fmla="*/ 14488 w 44461"/>
                <a:gd name="connsiteY1" fmla="*/ 95418 h 103661"/>
                <a:gd name="connsiteX2" fmla="*/ 12240 w 44461"/>
                <a:gd name="connsiteY2" fmla="*/ 84553 h 103661"/>
                <a:gd name="connsiteX3" fmla="*/ 12240 w 44461"/>
                <a:gd name="connsiteY3" fmla="*/ 31473 h 103661"/>
                <a:gd name="connsiteX4" fmla="*/ 0 w 44461"/>
                <a:gd name="connsiteY4" fmla="*/ 31473 h 103661"/>
                <a:gd name="connsiteX5" fmla="*/ 0 w 44461"/>
                <a:gd name="connsiteY5" fmla="*/ 24354 h 103661"/>
                <a:gd name="connsiteX6" fmla="*/ 24354 w 44461"/>
                <a:gd name="connsiteY6" fmla="*/ 0 h 103661"/>
                <a:gd name="connsiteX7" fmla="*/ 25978 w 44461"/>
                <a:gd name="connsiteY7" fmla="*/ 0 h 103661"/>
                <a:gd name="connsiteX8" fmla="*/ 25978 w 44461"/>
                <a:gd name="connsiteY8" fmla="*/ 19983 h 103661"/>
                <a:gd name="connsiteX9" fmla="*/ 44462 w 44461"/>
                <a:gd name="connsiteY9" fmla="*/ 19983 h 103661"/>
                <a:gd name="connsiteX10" fmla="*/ 44462 w 44461"/>
                <a:gd name="connsiteY10" fmla="*/ 31473 h 103661"/>
                <a:gd name="connsiteX11" fmla="*/ 25978 w 44461"/>
                <a:gd name="connsiteY11" fmla="*/ 31473 h 103661"/>
                <a:gd name="connsiteX12" fmla="*/ 25978 w 44461"/>
                <a:gd name="connsiteY12" fmla="*/ 81805 h 103661"/>
                <a:gd name="connsiteX13" fmla="*/ 26852 w 44461"/>
                <a:gd name="connsiteY13" fmla="*/ 87425 h 103661"/>
                <a:gd name="connsiteX14" fmla="*/ 29725 w 44461"/>
                <a:gd name="connsiteY14" fmla="*/ 90298 h 103661"/>
                <a:gd name="connsiteX15" fmla="*/ 35095 w 44461"/>
                <a:gd name="connsiteY15" fmla="*/ 91172 h 103661"/>
                <a:gd name="connsiteX16" fmla="*/ 44462 w 44461"/>
                <a:gd name="connsiteY16" fmla="*/ 89923 h 103661"/>
                <a:gd name="connsiteX17" fmla="*/ 44462 w 44461"/>
                <a:gd name="connsiteY17" fmla="*/ 102412 h 103661"/>
                <a:gd name="connsiteX18" fmla="*/ 39217 w 44461"/>
                <a:gd name="connsiteY18" fmla="*/ 103287 h 103661"/>
                <a:gd name="connsiteX19" fmla="*/ 33097 w 44461"/>
                <a:gd name="connsiteY19" fmla="*/ 103661 h 103661"/>
                <a:gd name="connsiteX20" fmla="*/ 21357 w 44461"/>
                <a:gd name="connsiteY20" fmla="*/ 101663 h 10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4461" h="103661">
                  <a:moveTo>
                    <a:pt x="21232" y="101538"/>
                  </a:moveTo>
                  <a:cubicBezTo>
                    <a:pt x="18235" y="100164"/>
                    <a:pt x="15986" y="98166"/>
                    <a:pt x="14488" y="95418"/>
                  </a:cubicBezTo>
                  <a:cubicBezTo>
                    <a:pt x="12989" y="92671"/>
                    <a:pt x="12240" y="89049"/>
                    <a:pt x="12240" y="84553"/>
                  </a:cubicBezTo>
                  <a:lnTo>
                    <a:pt x="12240" y="31473"/>
                  </a:lnTo>
                  <a:lnTo>
                    <a:pt x="0" y="31473"/>
                  </a:lnTo>
                  <a:lnTo>
                    <a:pt x="0" y="24354"/>
                  </a:lnTo>
                  <a:lnTo>
                    <a:pt x="24354" y="0"/>
                  </a:lnTo>
                  <a:lnTo>
                    <a:pt x="25978" y="0"/>
                  </a:lnTo>
                  <a:lnTo>
                    <a:pt x="25978" y="19983"/>
                  </a:lnTo>
                  <a:lnTo>
                    <a:pt x="44462" y="19983"/>
                  </a:lnTo>
                  <a:lnTo>
                    <a:pt x="44462" y="31473"/>
                  </a:lnTo>
                  <a:lnTo>
                    <a:pt x="25978" y="31473"/>
                  </a:lnTo>
                  <a:lnTo>
                    <a:pt x="25978" y="81805"/>
                  </a:lnTo>
                  <a:cubicBezTo>
                    <a:pt x="25978" y="84303"/>
                    <a:pt x="26228" y="86176"/>
                    <a:pt x="26852" y="87425"/>
                  </a:cubicBezTo>
                  <a:cubicBezTo>
                    <a:pt x="27477" y="88799"/>
                    <a:pt x="28351" y="89673"/>
                    <a:pt x="29725" y="90298"/>
                  </a:cubicBezTo>
                  <a:cubicBezTo>
                    <a:pt x="31099" y="90922"/>
                    <a:pt x="32847" y="91172"/>
                    <a:pt x="35095" y="91172"/>
                  </a:cubicBezTo>
                  <a:cubicBezTo>
                    <a:pt x="38093" y="91172"/>
                    <a:pt x="41215" y="90797"/>
                    <a:pt x="44462" y="89923"/>
                  </a:cubicBezTo>
                  <a:lnTo>
                    <a:pt x="44462" y="102412"/>
                  </a:lnTo>
                  <a:cubicBezTo>
                    <a:pt x="42963" y="102787"/>
                    <a:pt x="41215" y="103037"/>
                    <a:pt x="39217" y="103287"/>
                  </a:cubicBezTo>
                  <a:cubicBezTo>
                    <a:pt x="37093" y="103536"/>
                    <a:pt x="35095" y="103661"/>
                    <a:pt x="33097" y="103661"/>
                  </a:cubicBezTo>
                  <a:cubicBezTo>
                    <a:pt x="28226" y="103661"/>
                    <a:pt x="24354" y="103037"/>
                    <a:pt x="21357" y="101663"/>
                  </a:cubicBezTo>
                  <a:close/>
                </a:path>
              </a:pathLst>
            </a:custGeom>
            <a:solidFill>
              <a:schemeClr val="bg1"/>
            </a:solidFill>
            <a:ln w="12477" cap="flat">
              <a:noFill/>
              <a:prstDash val="solid"/>
              <a:miter/>
            </a:ln>
          </p:spPr>
          <p:txBody>
            <a:bodyPr rtlCol="0" anchor="ctr"/>
            <a:lstStyle/>
            <a:p>
              <a:pPr defTabSz="913669"/>
              <a:endParaRPr lang="en-US" sz="1798" b="1">
                <a:solidFill>
                  <a:srgbClr val="000000"/>
                </a:solidFill>
                <a:latin typeface="72 Brand" panose="020B0504030603020204" pitchFamily="34" charset="0"/>
              </a:endParaRPr>
            </a:p>
          </p:txBody>
        </p:sp>
      </p:grpSp>
      <p:sp>
        <p:nvSpPr>
          <p:cNvPr id="40" name="Title 39">
            <a:extLst>
              <a:ext uri="{FF2B5EF4-FFF2-40B4-BE49-F238E27FC236}">
                <a16:creationId xmlns:a16="http://schemas.microsoft.com/office/drawing/2014/main" id="{ED68AB10-2AE5-684C-3DD1-8B495335D6FF}"/>
              </a:ext>
            </a:extLst>
          </p:cNvPr>
          <p:cNvSpPr>
            <a:spLocks noGrp="1"/>
          </p:cNvSpPr>
          <p:nvPr>
            <p:ph type="title"/>
          </p:nvPr>
        </p:nvSpPr>
        <p:spPr>
          <a:xfrm>
            <a:off x="504001" y="504000"/>
            <a:ext cx="11186476" cy="738664"/>
          </a:xfrm>
        </p:spPr>
        <p:txBody>
          <a:bodyPr/>
          <a:lstStyle/>
          <a:p>
            <a:r>
              <a:rPr lang="de-DE" dirty="0">
                <a:solidFill>
                  <a:srgbClr val="0070F2"/>
                </a:solidFill>
              </a:rPr>
              <a:t>Es gibt viele Möglichkeiten Künstliche Intelligenz in </a:t>
            </a:r>
            <a:br>
              <a:rPr lang="de-DE" dirty="0">
                <a:solidFill>
                  <a:srgbClr val="0070F2"/>
                </a:solidFill>
              </a:rPr>
            </a:br>
            <a:r>
              <a:rPr lang="de-DE" dirty="0">
                <a:solidFill>
                  <a:srgbClr val="0070F2"/>
                </a:solidFill>
              </a:rPr>
              <a:t>SAP-SuccessFactors HCM „out-</a:t>
            </a:r>
            <a:r>
              <a:rPr lang="de-DE" dirty="0" err="1">
                <a:solidFill>
                  <a:srgbClr val="0070F2"/>
                </a:solidFill>
              </a:rPr>
              <a:t>of</a:t>
            </a:r>
            <a:r>
              <a:rPr lang="de-DE" dirty="0">
                <a:solidFill>
                  <a:srgbClr val="0070F2"/>
                </a:solidFill>
              </a:rPr>
              <a:t>-</a:t>
            </a:r>
            <a:r>
              <a:rPr lang="de-DE" dirty="0" err="1">
                <a:solidFill>
                  <a:srgbClr val="0070F2"/>
                </a:solidFill>
              </a:rPr>
              <a:t>the</a:t>
            </a:r>
            <a:r>
              <a:rPr lang="de-DE" dirty="0">
                <a:solidFill>
                  <a:srgbClr val="0070F2"/>
                </a:solidFill>
              </a:rPr>
              <a:t>-box“ zu nutzen</a:t>
            </a:r>
            <a:endParaRPr lang="en-US" dirty="0">
              <a:solidFill>
                <a:srgbClr val="0070F2"/>
              </a:solidFill>
            </a:endParaRPr>
          </a:p>
        </p:txBody>
      </p:sp>
      <p:sp>
        <p:nvSpPr>
          <p:cNvPr id="41" name="TextBox 40">
            <a:extLst>
              <a:ext uri="{FF2B5EF4-FFF2-40B4-BE49-F238E27FC236}">
                <a16:creationId xmlns:a16="http://schemas.microsoft.com/office/drawing/2014/main" id="{86EA267A-A851-0103-A737-E7ADCD8DDD18}"/>
              </a:ext>
            </a:extLst>
          </p:cNvPr>
          <p:cNvSpPr txBox="1"/>
          <p:nvPr/>
        </p:nvSpPr>
        <p:spPr>
          <a:xfrm>
            <a:off x="988248" y="2587643"/>
            <a:ext cx="2721768" cy="1137299"/>
          </a:xfrm>
          <a:prstGeom prst="rect">
            <a:avLst/>
          </a:prstGeom>
          <a:noFill/>
          <a:ln/>
        </p:spPr>
        <p:txBody>
          <a:bodyPr wrap="square" lIns="0" tIns="0" rIns="0" bIns="0" rtlCol="0" anchor="t">
            <a:spAutoFit/>
          </a:bodyPr>
          <a:lstStyle>
            <a:defPPr>
              <a:defRPr lang="de-DE"/>
            </a:defPPr>
            <a:lvl1pPr algn="r">
              <a:lnSpc>
                <a:spcPts val="1800"/>
              </a:lnSpc>
              <a:defRPr sz="1600">
                <a:latin typeface="72 Brand Medium" panose="020B0504030603020204" pitchFamily="34" charset="0"/>
                <a:ea typeface="72 Brand Medium" pitchFamily="34" charset="-122"/>
                <a:cs typeface="72 Brand Medium" pitchFamily="34" charset="-120"/>
              </a:defRPr>
            </a:lvl1pPr>
          </a:lstStyle>
          <a:p>
            <a:pPr algn="l"/>
            <a:r>
              <a:rPr lang="en-US" sz="1400" spc="25" dirty="0">
                <a:solidFill>
                  <a:srgbClr val="000000"/>
                </a:solidFill>
                <a:latin typeface="+mj-lt"/>
                <a:cs typeface="72-Regular" panose="020B0503030000000003" pitchFamily="34" charset="0"/>
              </a:rPr>
              <a:t>Joule</a:t>
            </a:r>
            <a:r>
              <a:rPr lang="en-US" sz="1400" spc="25" dirty="0">
                <a:solidFill>
                  <a:srgbClr val="000000"/>
                </a:solidFill>
                <a:latin typeface="72 Brand Book" panose="020B0404030603020204" pitchFamily="34" charset="0"/>
                <a:cs typeface="72-Regular" panose="020B0503030000000003" pitchFamily="34" charset="0"/>
              </a:rPr>
              <a:t> </a:t>
            </a:r>
            <a:r>
              <a:rPr lang="de-DE" sz="1400" spc="25" dirty="0">
                <a:solidFill>
                  <a:srgbClr val="000000"/>
                </a:solidFill>
                <a:latin typeface="72 Brand Book" panose="020B0404030603020204" pitchFamily="34" charset="0"/>
                <a:cs typeface="72-Regular" panose="020B0503030000000003" pitchFamily="34" charset="0"/>
              </a:rPr>
              <a:t>koordiniert durchgängige Geschäftsprozesse in allen SAP-Cloud-Lösungen und ermöglicht es Ihnen, tägliche Aufgaben effizienter zu erledigen.</a:t>
            </a:r>
            <a:endParaRPr lang="en-US" sz="1400" dirty="0">
              <a:latin typeface="72 Brand Book" panose="020B0404030603020204" pitchFamily="34" charset="0"/>
              <a:ea typeface="+mn-ea"/>
              <a:cs typeface="+mn-cs"/>
            </a:endParaRPr>
          </a:p>
        </p:txBody>
      </p:sp>
      <p:sp>
        <p:nvSpPr>
          <p:cNvPr id="42" name="TextBox 41">
            <a:extLst>
              <a:ext uri="{FF2B5EF4-FFF2-40B4-BE49-F238E27FC236}">
                <a16:creationId xmlns:a16="http://schemas.microsoft.com/office/drawing/2014/main" id="{3630795F-10A6-78F4-6E6D-CCE1BE1C4053}"/>
              </a:ext>
            </a:extLst>
          </p:cNvPr>
          <p:cNvSpPr txBox="1"/>
          <p:nvPr/>
        </p:nvSpPr>
        <p:spPr>
          <a:xfrm>
            <a:off x="990806" y="4105494"/>
            <a:ext cx="2724538" cy="1137299"/>
          </a:xfrm>
          <a:prstGeom prst="rect">
            <a:avLst/>
          </a:prstGeom>
          <a:noFill/>
          <a:ln/>
        </p:spPr>
        <p:txBody>
          <a:bodyPr wrap="square" lIns="0" tIns="0" rIns="0" bIns="0" rtlCol="0" anchor="t">
            <a:spAutoFit/>
          </a:bodyPr>
          <a:lstStyle>
            <a:defPPr>
              <a:defRPr lang="de-DE"/>
            </a:defPPr>
            <a:lvl1pPr algn="ctr">
              <a:lnSpc>
                <a:spcPts val="1800"/>
              </a:lnSpc>
              <a:defRPr sz="1200" b="1" spc="25">
                <a:solidFill>
                  <a:srgbClr val="000000"/>
                </a:solidFill>
                <a:latin typeface="72 Brand" panose="020B0504030603020204" pitchFamily="34" charset="0"/>
                <a:ea typeface="72 Brand Medium" pitchFamily="34" charset="-122"/>
                <a:cs typeface="72-Regular" panose="020B0503030000000003" pitchFamily="34" charset="0"/>
              </a:defRPr>
            </a:lvl1pPr>
          </a:lstStyle>
          <a:p>
            <a:pPr algn="l"/>
            <a:r>
              <a:rPr lang="en-US" sz="1400" b="0" dirty="0">
                <a:latin typeface="+mj-lt"/>
              </a:rPr>
              <a:t>SAP Business KI </a:t>
            </a:r>
            <a:r>
              <a:rPr lang="en-US" sz="1400" b="0" dirty="0" err="1">
                <a:latin typeface="+mj-lt"/>
              </a:rPr>
              <a:t>Funktionen</a:t>
            </a:r>
            <a:r>
              <a:rPr lang="en-US" sz="1400" b="0" dirty="0">
                <a:latin typeface="+mj-lt"/>
              </a:rPr>
              <a:t> </a:t>
            </a:r>
            <a:r>
              <a:rPr lang="en-US" sz="1400" b="0" dirty="0" err="1">
                <a:latin typeface="+mj-lt"/>
              </a:rPr>
              <a:t>sind</a:t>
            </a:r>
            <a:r>
              <a:rPr lang="en-US" sz="1400" b="0" dirty="0">
                <a:latin typeface="+mj-lt"/>
              </a:rPr>
              <a:t> </a:t>
            </a:r>
            <a:r>
              <a:rPr lang="en-US" sz="1400" b="0" dirty="0" err="1">
                <a:latin typeface="+mj-lt"/>
              </a:rPr>
              <a:t>eingebettet</a:t>
            </a:r>
            <a:r>
              <a:rPr lang="en-US" sz="1400" b="0" dirty="0">
                <a:latin typeface="+mj-lt"/>
              </a:rPr>
              <a:t> </a:t>
            </a:r>
            <a:r>
              <a:rPr lang="de-DE" sz="1400" b="0" dirty="0">
                <a:latin typeface="72 Brand Book" panose="020B0404030603020204" pitchFamily="34" charset="0"/>
              </a:rPr>
              <a:t>in den SAP Business Suite Lösungen  einschließlich SAP SuccessFactors HCM</a:t>
            </a:r>
            <a:endParaRPr lang="en-US" sz="1400" b="0" dirty="0">
              <a:latin typeface="72 Brand Book" panose="020B0404030603020204" pitchFamily="34" charset="0"/>
            </a:endParaRPr>
          </a:p>
        </p:txBody>
      </p:sp>
      <p:pic>
        <p:nvPicPr>
          <p:cNvPr id="49" name="Graphic 48">
            <a:extLst>
              <a:ext uri="{FF2B5EF4-FFF2-40B4-BE49-F238E27FC236}">
                <a16:creationId xmlns:a16="http://schemas.microsoft.com/office/drawing/2014/main" id="{7CF8E771-942F-0D50-2F03-F70C997302C7}"/>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0379" y="4161522"/>
            <a:ext cx="228600" cy="228600"/>
          </a:xfrm>
          <a:prstGeom prst="rect">
            <a:avLst/>
          </a:prstGeom>
        </p:spPr>
      </p:pic>
      <p:pic>
        <p:nvPicPr>
          <p:cNvPr id="50" name="Graphic 49">
            <a:extLst>
              <a:ext uri="{FF2B5EF4-FFF2-40B4-BE49-F238E27FC236}">
                <a16:creationId xmlns:a16="http://schemas.microsoft.com/office/drawing/2014/main" id="{1BFC3D4A-BF33-B9E9-A073-37222EF3482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3428" y="2636945"/>
            <a:ext cx="228600" cy="228600"/>
          </a:xfrm>
          <a:prstGeom prst="rect">
            <a:avLst/>
          </a:prstGeom>
        </p:spPr>
      </p:pic>
      <p:sp>
        <p:nvSpPr>
          <p:cNvPr id="6" name="Rounded Rectangle 5">
            <a:extLst>
              <a:ext uri="{FF2B5EF4-FFF2-40B4-BE49-F238E27FC236}">
                <a16:creationId xmlns:a16="http://schemas.microsoft.com/office/drawing/2014/main" id="{8294676B-40D7-1D0B-ECE2-B033E0479FD4}"/>
              </a:ext>
            </a:extLst>
          </p:cNvPr>
          <p:cNvSpPr/>
          <p:nvPr/>
        </p:nvSpPr>
        <p:spPr bwMode="gray">
          <a:xfrm>
            <a:off x="3975810" y="2128105"/>
            <a:ext cx="7772400" cy="3607673"/>
          </a:xfrm>
          <a:prstGeom prst="roundRect">
            <a:avLst>
              <a:gd name="adj" fmla="val 2922"/>
            </a:avLst>
          </a:prstGeom>
          <a:solidFill>
            <a:schemeClr val="bg1"/>
          </a:solidFill>
          <a:ln w="3175" algn="ctr">
            <a:solidFill>
              <a:schemeClr val="bg1">
                <a:lumMod val="85000"/>
              </a:schemeClr>
            </a:solidFill>
            <a:miter lim="800000"/>
            <a:headEnd/>
            <a:tailEnd/>
          </a:ln>
          <a:effectLst>
            <a:outerShdw blurRad="97574" dist="52071"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72 Brand" pitchFamily="34" charset="-128"/>
              <a:cs typeface="72 Brand" pitchFamily="34" charset="-128"/>
            </a:endParaRPr>
          </a:p>
        </p:txBody>
      </p:sp>
      <p:grpSp>
        <p:nvGrpSpPr>
          <p:cNvPr id="1609" name="Group 1608">
            <a:extLst>
              <a:ext uri="{FF2B5EF4-FFF2-40B4-BE49-F238E27FC236}">
                <a16:creationId xmlns:a16="http://schemas.microsoft.com/office/drawing/2014/main" id="{2CFC1094-BFD8-C346-782F-6AC334A55A55}"/>
              </a:ext>
            </a:extLst>
          </p:cNvPr>
          <p:cNvGrpSpPr>
            <a:grpSpLocks noChangeAspect="1"/>
          </p:cNvGrpSpPr>
          <p:nvPr/>
        </p:nvGrpSpPr>
        <p:grpSpPr>
          <a:xfrm>
            <a:off x="4213836" y="2287438"/>
            <a:ext cx="7318053" cy="3329623"/>
            <a:chOff x="931902" y="1433869"/>
            <a:chExt cx="10331370" cy="4700645"/>
          </a:xfrm>
        </p:grpSpPr>
        <p:sp>
          <p:nvSpPr>
            <p:cNvPr id="1610" name="Rectangle: Rounded Corners 93">
              <a:extLst>
                <a:ext uri="{FF2B5EF4-FFF2-40B4-BE49-F238E27FC236}">
                  <a16:creationId xmlns:a16="http://schemas.microsoft.com/office/drawing/2014/main" id="{B35BCEB2-E10F-82EC-5931-7FCDA977A786}"/>
                </a:ext>
              </a:extLst>
            </p:cNvPr>
            <p:cNvSpPr/>
            <p:nvPr/>
          </p:nvSpPr>
          <p:spPr bwMode="auto">
            <a:xfrm>
              <a:off x="931902" y="4362443"/>
              <a:ext cx="10324998" cy="885185"/>
            </a:xfrm>
            <a:prstGeom prst="roundRect">
              <a:avLst>
                <a:gd name="adj" fmla="val 2679"/>
              </a:avLst>
            </a:prstGeom>
            <a:gradFill>
              <a:gsLst>
                <a:gs pos="0">
                  <a:srgbClr val="5E37FF">
                    <a:alpha val="25000"/>
                  </a:srgbClr>
                </a:gs>
                <a:gs pos="100000">
                  <a:srgbClr val="8914D8">
                    <a:alpha val="25000"/>
                  </a:srgbClr>
                </a:gs>
              </a:gsLst>
              <a:lin ang="762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US" sz="800" b="1">
                <a:solidFill>
                  <a:srgbClr val="E9ECEE"/>
                </a:solidFill>
                <a:latin typeface="72 Brand" panose="020B0504030603020204" pitchFamily="34" charset="0"/>
              </a:endParaRPr>
            </a:p>
          </p:txBody>
        </p:sp>
        <p:sp>
          <p:nvSpPr>
            <p:cNvPr id="1611" name="TextBox 1610">
              <a:extLst>
                <a:ext uri="{FF2B5EF4-FFF2-40B4-BE49-F238E27FC236}">
                  <a16:creationId xmlns:a16="http://schemas.microsoft.com/office/drawing/2014/main" id="{F2777D27-7212-B3E2-7F52-D213DDE8AF31}"/>
                </a:ext>
              </a:extLst>
            </p:cNvPr>
            <p:cNvSpPr txBox="1"/>
            <p:nvPr/>
          </p:nvSpPr>
          <p:spPr>
            <a:xfrm>
              <a:off x="5349005" y="4553470"/>
              <a:ext cx="1490793" cy="276999"/>
            </a:xfrm>
            <a:prstGeom prst="rect">
              <a:avLst/>
            </a:prstGeom>
            <a:noFill/>
          </p:spPr>
          <p:txBody>
            <a:bodyPr wrap="none" lIns="0" tIns="0" rIns="0" bIns="0" rtlCol="0">
              <a:spAutoFit/>
            </a:bodyPr>
            <a:lstStyle/>
            <a:p>
              <a:pPr algn="ctr" defTabSz="914126">
                <a:defRPr/>
              </a:pPr>
              <a:r>
                <a:rPr lang="en-US" sz="1200" dirty="0">
                  <a:solidFill>
                    <a:srgbClr val="00144A"/>
                  </a:solidFill>
                  <a:latin typeface="72 Brand Medium" panose="020B0504030603020204" pitchFamily="34" charset="0"/>
                  <a:cs typeface="72 Bold" panose="020B0803030000000003" pitchFamily="34" charset="0"/>
                </a:rPr>
                <a:t>AI Foundation</a:t>
              </a:r>
            </a:p>
          </p:txBody>
        </p:sp>
        <p:sp>
          <p:nvSpPr>
            <p:cNvPr id="1613" name="TextBox 1612">
              <a:extLst>
                <a:ext uri="{FF2B5EF4-FFF2-40B4-BE49-F238E27FC236}">
                  <a16:creationId xmlns:a16="http://schemas.microsoft.com/office/drawing/2014/main" id="{E28713AB-60B6-D189-A4E0-E5DE758A2679}"/>
                </a:ext>
              </a:extLst>
            </p:cNvPr>
            <p:cNvSpPr txBox="1"/>
            <p:nvPr/>
          </p:nvSpPr>
          <p:spPr>
            <a:xfrm>
              <a:off x="4362737" y="4852171"/>
              <a:ext cx="3469701" cy="253915"/>
            </a:xfrm>
            <a:prstGeom prst="rect">
              <a:avLst/>
            </a:prstGeom>
            <a:noFill/>
          </p:spPr>
          <p:txBody>
            <a:bodyPr wrap="none" lIns="0" tIns="0" rIns="0" bIns="0" rtlCol="0">
              <a:spAutoFit/>
            </a:bodyPr>
            <a:lstStyle/>
            <a:p>
              <a:pPr algn="ctr" defTabSz="914126">
                <a:defRPr/>
              </a:pPr>
              <a:r>
                <a:rPr lang="en-US" sz="1100" dirty="0">
                  <a:solidFill>
                    <a:srgbClr val="000000"/>
                  </a:solidFill>
                  <a:latin typeface="72 Brand Book" panose="020B0404030603020204" pitchFamily="34" charset="0"/>
                  <a:cs typeface="72" panose="020B0503030000000003" pitchFamily="34" charset="0"/>
                </a:rPr>
                <a:t>on SAP Business Technology Platform</a:t>
              </a:r>
            </a:p>
          </p:txBody>
        </p:sp>
        <p:grpSp>
          <p:nvGrpSpPr>
            <p:cNvPr id="1614" name="Group 1613">
              <a:extLst>
                <a:ext uri="{FF2B5EF4-FFF2-40B4-BE49-F238E27FC236}">
                  <a16:creationId xmlns:a16="http://schemas.microsoft.com/office/drawing/2014/main" id="{AE72658B-8E4E-5D94-DD4F-BB566D85EB0A}"/>
                </a:ext>
              </a:extLst>
            </p:cNvPr>
            <p:cNvGrpSpPr/>
            <p:nvPr/>
          </p:nvGrpSpPr>
          <p:grpSpPr>
            <a:xfrm>
              <a:off x="3857259" y="1433869"/>
              <a:ext cx="4878804" cy="276999"/>
              <a:chOff x="3857259" y="1433869"/>
              <a:chExt cx="4878804" cy="276999"/>
            </a:xfrm>
          </p:grpSpPr>
          <p:sp>
            <p:nvSpPr>
              <p:cNvPr id="1644" name="TextBox 1643">
                <a:extLst>
                  <a:ext uri="{FF2B5EF4-FFF2-40B4-BE49-F238E27FC236}">
                    <a16:creationId xmlns:a16="http://schemas.microsoft.com/office/drawing/2014/main" id="{CB16FB42-93F3-D2FF-AF45-F4DFB6FBCCF1}"/>
                  </a:ext>
                </a:extLst>
              </p:cNvPr>
              <p:cNvSpPr txBox="1"/>
              <p:nvPr/>
            </p:nvSpPr>
            <p:spPr>
              <a:xfrm>
                <a:off x="3857259" y="1433869"/>
                <a:ext cx="949779" cy="276999"/>
              </a:xfrm>
              <a:prstGeom prst="rect">
                <a:avLst/>
              </a:prstGeom>
              <a:noFill/>
            </p:spPr>
            <p:txBody>
              <a:bodyPr wrap="none" lIns="0" tIns="0" rIns="0" bIns="0" rtlCol="0">
                <a:spAutoFit/>
              </a:bodyPr>
              <a:lstStyle/>
              <a:p>
                <a:pPr algn="r" defTabSz="914126">
                  <a:defRPr/>
                </a:pPr>
                <a:r>
                  <a:rPr lang="en-US" sz="1200" dirty="0">
                    <a:solidFill>
                      <a:srgbClr val="00144A"/>
                    </a:solidFill>
                    <a:latin typeface="72 Brand Medium" panose="020B0504030603020204" pitchFamily="34" charset="0"/>
                    <a:cs typeface="72 Bold" panose="020B0803030000000003" pitchFamily="34" charset="0"/>
                  </a:rPr>
                  <a:t>Relevant</a:t>
                </a:r>
              </a:p>
            </p:txBody>
          </p:sp>
          <p:sp>
            <p:nvSpPr>
              <p:cNvPr id="1645" name="TextBox 1644">
                <a:extLst>
                  <a:ext uri="{FF2B5EF4-FFF2-40B4-BE49-F238E27FC236}">
                    <a16:creationId xmlns:a16="http://schemas.microsoft.com/office/drawing/2014/main" id="{2764B605-6690-1AEB-7122-3A3732CD3762}"/>
                  </a:ext>
                </a:extLst>
              </p:cNvPr>
              <p:cNvSpPr txBox="1"/>
              <p:nvPr/>
            </p:nvSpPr>
            <p:spPr>
              <a:xfrm>
                <a:off x="5655159" y="1433869"/>
                <a:ext cx="884858" cy="276999"/>
              </a:xfrm>
              <a:prstGeom prst="rect">
                <a:avLst/>
              </a:prstGeom>
              <a:noFill/>
            </p:spPr>
            <p:txBody>
              <a:bodyPr wrap="none" lIns="0" tIns="0" rIns="0" bIns="0" rtlCol="0">
                <a:spAutoFit/>
              </a:bodyPr>
              <a:lstStyle/>
              <a:p>
                <a:pPr algn="ctr" defTabSz="914126">
                  <a:defRPr/>
                </a:pPr>
                <a:r>
                  <a:rPr lang="en-US" sz="1200">
                    <a:solidFill>
                      <a:srgbClr val="00144A"/>
                    </a:solidFill>
                    <a:latin typeface="72 Brand Medium" panose="020B0504030603020204" pitchFamily="34" charset="0"/>
                    <a:cs typeface="72 Bold" panose="020B0803030000000003" pitchFamily="34" charset="0"/>
                  </a:rPr>
                  <a:t>Reliable</a:t>
                </a:r>
              </a:p>
            </p:txBody>
          </p:sp>
          <p:sp>
            <p:nvSpPr>
              <p:cNvPr id="1646" name="TextBox 1645">
                <a:extLst>
                  <a:ext uri="{FF2B5EF4-FFF2-40B4-BE49-F238E27FC236}">
                    <a16:creationId xmlns:a16="http://schemas.microsoft.com/office/drawing/2014/main" id="{D5457A55-CE21-113D-A565-197DCEFB8448}"/>
                  </a:ext>
                </a:extLst>
              </p:cNvPr>
              <p:cNvSpPr txBox="1"/>
              <p:nvPr/>
            </p:nvSpPr>
            <p:spPr>
              <a:xfrm>
                <a:off x="7403967" y="1433869"/>
                <a:ext cx="1332096" cy="276999"/>
              </a:xfrm>
              <a:prstGeom prst="rect">
                <a:avLst/>
              </a:prstGeom>
              <a:noFill/>
            </p:spPr>
            <p:txBody>
              <a:bodyPr wrap="none" lIns="0" tIns="0" rIns="0" bIns="0" rtlCol="0">
                <a:spAutoFit/>
              </a:bodyPr>
              <a:lstStyle/>
              <a:p>
                <a:pPr defTabSz="914126">
                  <a:defRPr/>
                </a:pPr>
                <a:r>
                  <a:rPr lang="en-US" sz="1200">
                    <a:solidFill>
                      <a:srgbClr val="00144A"/>
                    </a:solidFill>
                    <a:latin typeface="72 Brand Medium" panose="020B0504030603020204" pitchFamily="34" charset="0"/>
                    <a:cs typeface="72 Bold" panose="020B0803030000000003" pitchFamily="34" charset="0"/>
                  </a:rPr>
                  <a:t>Responsible</a:t>
                </a:r>
              </a:p>
            </p:txBody>
          </p:sp>
          <p:cxnSp>
            <p:nvCxnSpPr>
              <p:cNvPr id="1647" name="Straight Connector 1646">
                <a:extLst>
                  <a:ext uri="{FF2B5EF4-FFF2-40B4-BE49-F238E27FC236}">
                    <a16:creationId xmlns:a16="http://schemas.microsoft.com/office/drawing/2014/main" id="{733B36A1-3A9A-E5DD-EA56-64565229082C}"/>
                  </a:ext>
                </a:extLst>
              </p:cNvPr>
              <p:cNvCxnSpPr>
                <a:cxnSpLocks/>
              </p:cNvCxnSpPr>
              <p:nvPr/>
            </p:nvCxnSpPr>
            <p:spPr>
              <a:xfrm>
                <a:off x="5308117" y="1454691"/>
                <a:ext cx="0" cy="180247"/>
              </a:xfrm>
              <a:prstGeom prst="line">
                <a:avLst/>
              </a:prstGeom>
              <a:noFill/>
              <a:ln w="12700">
                <a:gradFill>
                  <a:gsLst>
                    <a:gs pos="20000">
                      <a:srgbClr val="1C0C6E"/>
                    </a:gs>
                    <a:gs pos="70000">
                      <a:srgbClr val="5D36FF"/>
                    </a:gs>
                    <a:gs pos="85000">
                      <a:srgbClr val="0070F2"/>
                    </a:gs>
                    <a:gs pos="95000">
                      <a:srgbClr val="1B90FF"/>
                    </a:gs>
                  </a:gsLst>
                  <a:lin ang="5400000" scaled="1"/>
                </a:gradFill>
              </a:ln>
            </p:spPr>
            <p:style>
              <a:lnRef idx="2">
                <a:schemeClr val="accent1">
                  <a:shade val="15000"/>
                </a:schemeClr>
              </a:lnRef>
              <a:fillRef idx="1">
                <a:schemeClr val="accent1"/>
              </a:fillRef>
              <a:effectRef idx="0">
                <a:schemeClr val="accent1"/>
              </a:effectRef>
              <a:fontRef idx="minor">
                <a:schemeClr val="lt1"/>
              </a:fontRef>
            </p:style>
          </p:cxnSp>
          <p:cxnSp>
            <p:nvCxnSpPr>
              <p:cNvPr id="1648" name="Straight Connector 1647">
                <a:extLst>
                  <a:ext uri="{FF2B5EF4-FFF2-40B4-BE49-F238E27FC236}">
                    <a16:creationId xmlns:a16="http://schemas.microsoft.com/office/drawing/2014/main" id="{1C7DA895-35C3-49DD-431C-74D5363EB3AB}"/>
                  </a:ext>
                </a:extLst>
              </p:cNvPr>
              <p:cNvCxnSpPr>
                <a:cxnSpLocks/>
              </p:cNvCxnSpPr>
              <p:nvPr/>
            </p:nvCxnSpPr>
            <p:spPr>
              <a:xfrm>
                <a:off x="6915257" y="1454691"/>
                <a:ext cx="0" cy="180247"/>
              </a:xfrm>
              <a:prstGeom prst="line">
                <a:avLst/>
              </a:prstGeom>
              <a:noFill/>
              <a:ln w="12700">
                <a:gradFill>
                  <a:gsLst>
                    <a:gs pos="20000">
                      <a:srgbClr val="1C0C6E"/>
                    </a:gs>
                    <a:gs pos="70000">
                      <a:srgbClr val="5D36FF"/>
                    </a:gs>
                    <a:gs pos="85000">
                      <a:srgbClr val="0070F2"/>
                    </a:gs>
                    <a:gs pos="95000">
                      <a:srgbClr val="1B90FF"/>
                    </a:gs>
                  </a:gsLst>
                  <a:lin ang="5400000" scaled="1"/>
                </a:gradFill>
              </a:ln>
            </p:spPr>
            <p:style>
              <a:lnRef idx="2">
                <a:schemeClr val="accent1">
                  <a:shade val="15000"/>
                </a:schemeClr>
              </a:lnRef>
              <a:fillRef idx="1">
                <a:schemeClr val="accent1"/>
              </a:fillRef>
              <a:effectRef idx="0">
                <a:schemeClr val="accent1"/>
              </a:effectRef>
              <a:fontRef idx="minor">
                <a:schemeClr val="lt1"/>
              </a:fontRef>
            </p:style>
          </p:cxnSp>
        </p:grpSp>
        <p:sp>
          <p:nvSpPr>
            <p:cNvPr id="1615" name="Rectangle: Rounded Corners 93">
              <a:extLst>
                <a:ext uri="{FF2B5EF4-FFF2-40B4-BE49-F238E27FC236}">
                  <a16:creationId xmlns:a16="http://schemas.microsoft.com/office/drawing/2014/main" id="{D65478F7-A7CB-4BBA-CFE8-4D9738B7722C}"/>
                </a:ext>
              </a:extLst>
            </p:cNvPr>
            <p:cNvSpPr/>
            <p:nvPr/>
          </p:nvSpPr>
          <p:spPr bwMode="auto">
            <a:xfrm>
              <a:off x="931903" y="1874180"/>
              <a:ext cx="10331369" cy="885185"/>
            </a:xfrm>
            <a:prstGeom prst="roundRect">
              <a:avLst>
                <a:gd name="adj" fmla="val 3274"/>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US" sz="800" b="1">
                <a:solidFill>
                  <a:srgbClr val="E9ECEE"/>
                </a:solidFill>
                <a:latin typeface="72 Brand" panose="020B0504030603020204" pitchFamily="34" charset="0"/>
              </a:endParaRPr>
            </a:p>
          </p:txBody>
        </p:sp>
        <p:sp>
          <p:nvSpPr>
            <p:cNvPr id="1616" name="TextBox 1615">
              <a:extLst>
                <a:ext uri="{FF2B5EF4-FFF2-40B4-BE49-F238E27FC236}">
                  <a16:creationId xmlns:a16="http://schemas.microsoft.com/office/drawing/2014/main" id="{FBFA087E-B973-9541-81F1-2EA817084A64}"/>
                </a:ext>
              </a:extLst>
            </p:cNvPr>
            <p:cNvSpPr txBox="1"/>
            <p:nvPr/>
          </p:nvSpPr>
          <p:spPr>
            <a:xfrm>
              <a:off x="4017977" y="2407798"/>
              <a:ext cx="4191053" cy="253915"/>
            </a:xfrm>
            <a:prstGeom prst="rect">
              <a:avLst/>
            </a:prstGeom>
            <a:noFill/>
          </p:spPr>
          <p:txBody>
            <a:bodyPr wrap="none" lIns="0" tIns="0" rIns="0" bIns="0" rtlCol="0">
              <a:spAutoFit/>
            </a:bodyPr>
            <a:lstStyle/>
            <a:p>
              <a:pPr algn="ctr" defTabSz="914126">
                <a:defRPr/>
              </a:pPr>
              <a:r>
                <a:rPr lang="en-US" sz="1100" dirty="0">
                  <a:solidFill>
                    <a:srgbClr val="FFFFFF"/>
                  </a:solidFill>
                  <a:latin typeface="72 Brand Book" panose="020B0404030603020204" pitchFamily="34" charset="0"/>
                  <a:cs typeface="72" panose="020B0503030000000003" pitchFamily="34" charset="0"/>
                </a:rPr>
                <a:t>A copilot that truly understands your business</a:t>
              </a:r>
            </a:p>
          </p:txBody>
        </p:sp>
        <p:sp>
          <p:nvSpPr>
            <p:cNvPr id="1617" name="TextBox 1616">
              <a:extLst>
                <a:ext uri="{FF2B5EF4-FFF2-40B4-BE49-F238E27FC236}">
                  <a16:creationId xmlns:a16="http://schemas.microsoft.com/office/drawing/2014/main" id="{CF0E5972-E167-8980-99C9-48D4793EA7C7}"/>
                </a:ext>
              </a:extLst>
            </p:cNvPr>
            <p:cNvSpPr txBox="1"/>
            <p:nvPr/>
          </p:nvSpPr>
          <p:spPr>
            <a:xfrm>
              <a:off x="5800632" y="2043789"/>
              <a:ext cx="593913" cy="276999"/>
            </a:xfrm>
            <a:prstGeom prst="rect">
              <a:avLst/>
            </a:prstGeom>
            <a:noFill/>
          </p:spPr>
          <p:txBody>
            <a:bodyPr wrap="none" lIns="0" tIns="0" rIns="0" bIns="0" rtlCol="0">
              <a:spAutoFit/>
            </a:bodyPr>
            <a:lstStyle/>
            <a:p>
              <a:pPr algn="ctr" defTabSz="914126">
                <a:defRPr/>
              </a:pPr>
              <a:r>
                <a:rPr lang="en-US" sz="1200" dirty="0">
                  <a:solidFill>
                    <a:srgbClr val="FFFFFF"/>
                  </a:solidFill>
                  <a:latin typeface="72 Brand Medium" panose="020B0504030603020204" pitchFamily="34" charset="0"/>
                  <a:cs typeface="72 Bold" panose="020B0803030000000003" pitchFamily="34" charset="0"/>
                </a:rPr>
                <a:t>Joule</a:t>
              </a:r>
            </a:p>
          </p:txBody>
        </p:sp>
        <p:sp>
          <p:nvSpPr>
            <p:cNvPr id="1618" name="Rectangle: Rounded Corners 93">
              <a:extLst>
                <a:ext uri="{FF2B5EF4-FFF2-40B4-BE49-F238E27FC236}">
                  <a16:creationId xmlns:a16="http://schemas.microsoft.com/office/drawing/2014/main" id="{9EE53E98-366D-079F-D3EE-115B413F2A9D}"/>
                </a:ext>
              </a:extLst>
            </p:cNvPr>
            <p:cNvSpPr/>
            <p:nvPr/>
          </p:nvSpPr>
          <p:spPr bwMode="auto">
            <a:xfrm>
              <a:off x="9179651" y="2940989"/>
              <a:ext cx="2083621" cy="1234800"/>
            </a:xfrm>
            <a:prstGeom prst="roundRect">
              <a:avLst>
                <a:gd name="adj" fmla="val 1815"/>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endParaRPr lang="en-US" sz="800" b="1">
                <a:solidFill>
                  <a:srgbClr val="E9ECEE"/>
                </a:solidFill>
                <a:latin typeface="72 Brand" panose="020B0504030603020204" pitchFamily="34" charset="0"/>
              </a:endParaRPr>
            </a:p>
          </p:txBody>
        </p:sp>
        <p:sp>
          <p:nvSpPr>
            <p:cNvPr id="1619" name="TextBox 1618">
              <a:extLst>
                <a:ext uri="{FF2B5EF4-FFF2-40B4-BE49-F238E27FC236}">
                  <a16:creationId xmlns:a16="http://schemas.microsoft.com/office/drawing/2014/main" id="{5D1FD5A5-DC49-1808-D1CB-C1BF259984C2}"/>
                </a:ext>
              </a:extLst>
            </p:cNvPr>
            <p:cNvSpPr txBox="1"/>
            <p:nvPr/>
          </p:nvSpPr>
          <p:spPr>
            <a:xfrm>
              <a:off x="9456225" y="3466056"/>
              <a:ext cx="1541288" cy="276999"/>
            </a:xfrm>
            <a:prstGeom prst="rect">
              <a:avLst/>
            </a:prstGeom>
            <a:noFill/>
          </p:spPr>
          <p:txBody>
            <a:bodyPr wrap="none" lIns="0" tIns="0" rIns="0" bIns="0" rtlCol="0">
              <a:spAutoFit/>
            </a:bodyPr>
            <a:lstStyle/>
            <a:p>
              <a:pPr algn="ctr" defTabSz="914126">
                <a:defRPr/>
              </a:pPr>
              <a:r>
                <a:rPr lang="en-US" sz="1200" dirty="0">
                  <a:solidFill>
                    <a:srgbClr val="FFFFFF"/>
                  </a:solidFill>
                  <a:latin typeface="72 Brand Medium" panose="020B0504030603020204" pitchFamily="34" charset="0"/>
                  <a:cs typeface="72" panose="020B0503030000000003" pitchFamily="34" charset="0"/>
                </a:rPr>
                <a:t>Customized AI</a:t>
              </a:r>
            </a:p>
          </p:txBody>
        </p:sp>
        <p:sp>
          <p:nvSpPr>
            <p:cNvPr id="1620" name="Rectangle: Rounded Corners 93">
              <a:extLst>
                <a:ext uri="{FF2B5EF4-FFF2-40B4-BE49-F238E27FC236}">
                  <a16:creationId xmlns:a16="http://schemas.microsoft.com/office/drawing/2014/main" id="{881BB895-F998-9626-32E6-1B98A1DB8474}"/>
                </a:ext>
              </a:extLst>
            </p:cNvPr>
            <p:cNvSpPr/>
            <p:nvPr/>
          </p:nvSpPr>
          <p:spPr bwMode="auto">
            <a:xfrm>
              <a:off x="931903" y="2940989"/>
              <a:ext cx="8175357" cy="1234800"/>
            </a:xfrm>
            <a:prstGeom prst="roundRect">
              <a:avLst>
                <a:gd name="adj" fmla="val 2550"/>
              </a:avLst>
            </a:prstGeom>
            <a:solidFill>
              <a:schemeClr val="accent6">
                <a:lumMod val="20000"/>
                <a:lumOff val="80000"/>
                <a:alpha val="59913"/>
              </a:schemeClr>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800" b="1">
                <a:latin typeface="72 Brand" panose="020B0504030603020204" pitchFamily="34" charset="0"/>
              </a:endParaRPr>
            </a:p>
          </p:txBody>
        </p:sp>
        <p:sp>
          <p:nvSpPr>
            <p:cNvPr id="1621" name="TextBox 1620">
              <a:extLst>
                <a:ext uri="{FF2B5EF4-FFF2-40B4-BE49-F238E27FC236}">
                  <a16:creationId xmlns:a16="http://schemas.microsoft.com/office/drawing/2014/main" id="{D92D79D3-6AA6-DA6A-C706-4A27FA6AA175}"/>
                </a:ext>
              </a:extLst>
            </p:cNvPr>
            <p:cNvSpPr txBox="1"/>
            <p:nvPr/>
          </p:nvSpPr>
          <p:spPr>
            <a:xfrm>
              <a:off x="4704735" y="3062485"/>
              <a:ext cx="2741135" cy="276999"/>
            </a:xfrm>
            <a:prstGeom prst="rect">
              <a:avLst/>
            </a:prstGeom>
            <a:noFill/>
          </p:spPr>
          <p:txBody>
            <a:bodyPr wrap="none" lIns="0" tIns="0" rIns="0" bIns="0" rtlCol="0">
              <a:spAutoFit/>
            </a:bodyPr>
            <a:lstStyle/>
            <a:p>
              <a:pPr algn="ctr" defTabSz="914126">
                <a:defRPr/>
              </a:pPr>
              <a:r>
                <a:rPr lang="en-US" sz="1200" dirty="0">
                  <a:solidFill>
                    <a:srgbClr val="00144A"/>
                  </a:solidFill>
                  <a:latin typeface="72 Brand Medium" panose="020B0504030603020204" pitchFamily="34" charset="0"/>
                  <a:cs typeface="72" panose="020B0503030000000003" pitchFamily="34" charset="0"/>
                </a:rPr>
                <a:t>Embedded AI capabilities</a:t>
              </a:r>
            </a:p>
          </p:txBody>
        </p:sp>
        <p:sp>
          <p:nvSpPr>
            <p:cNvPr id="1622" name="Rectangle: Rounded Corners 86">
              <a:extLst>
                <a:ext uri="{FF2B5EF4-FFF2-40B4-BE49-F238E27FC236}">
                  <a16:creationId xmlns:a16="http://schemas.microsoft.com/office/drawing/2014/main" id="{17EE5C41-7403-7772-E1B2-AE235250B306}"/>
                </a:ext>
              </a:extLst>
            </p:cNvPr>
            <p:cNvSpPr/>
            <p:nvPr/>
          </p:nvSpPr>
          <p:spPr bwMode="auto">
            <a:xfrm>
              <a:off x="991126" y="3408749"/>
              <a:ext cx="1299600" cy="593724"/>
            </a:xfrm>
            <a:prstGeom prst="roundRect">
              <a:avLst>
                <a:gd name="adj" fmla="val 4368"/>
              </a:avLst>
            </a:prstGeom>
            <a:solidFill>
              <a:srgbClr val="B894FF">
                <a:alpha val="46004"/>
              </a:srgbClr>
            </a:solidFill>
            <a:ln w="9525" cap="flat">
              <a:noFill/>
              <a:prstDash val="solid"/>
              <a:miter/>
            </a:ln>
          </p:spPr>
          <p:txBody>
            <a:bodyPr lIns="0" tIns="0" rIns="0" bIns="0" rtlCol="0" anchor="ctr"/>
            <a:lstStyle/>
            <a:p>
              <a:pPr algn="ctr" defTabSz="913030"/>
              <a:r>
                <a:rPr lang="en-US" sz="700" dirty="0">
                  <a:solidFill>
                    <a:srgbClr val="000000"/>
                  </a:solidFill>
                  <a:latin typeface="72 Brand Book" panose="020B0404030603020204" pitchFamily="34" charset="0"/>
                  <a:cs typeface="72-Regular" panose="020B0503030000000003" pitchFamily="34" charset="0"/>
                </a:rPr>
                <a:t>SAP Cloud ERP</a:t>
              </a:r>
            </a:p>
          </p:txBody>
        </p:sp>
        <p:sp>
          <p:nvSpPr>
            <p:cNvPr id="1623" name="Rectangle: Rounded Corners 86">
              <a:extLst>
                <a:ext uri="{FF2B5EF4-FFF2-40B4-BE49-F238E27FC236}">
                  <a16:creationId xmlns:a16="http://schemas.microsoft.com/office/drawing/2014/main" id="{9CD7A47F-E09F-13A0-2A6D-BE16757DEDF3}"/>
                </a:ext>
              </a:extLst>
            </p:cNvPr>
            <p:cNvSpPr/>
            <p:nvPr/>
          </p:nvSpPr>
          <p:spPr bwMode="auto">
            <a:xfrm>
              <a:off x="2342588" y="3408749"/>
              <a:ext cx="1299600" cy="593724"/>
            </a:xfrm>
            <a:prstGeom prst="roundRect">
              <a:avLst>
                <a:gd name="adj" fmla="val 4368"/>
              </a:avLst>
            </a:prstGeom>
            <a:solidFill>
              <a:srgbClr val="B894FF">
                <a:alpha val="46004"/>
              </a:srgbClr>
            </a:solidFill>
            <a:ln w="9525" cap="flat">
              <a:noFill/>
              <a:prstDash val="solid"/>
              <a:miter/>
            </a:ln>
          </p:spPr>
          <p:txBody>
            <a:bodyPr lIns="0" tIns="0" rIns="0" bIns="0" rtlCol="0" anchor="ctr"/>
            <a:lstStyle/>
            <a:p>
              <a:pPr algn="ctr" defTabSz="913030"/>
              <a:r>
                <a:rPr lang="en-US" sz="700">
                  <a:solidFill>
                    <a:srgbClr val="000000"/>
                  </a:solidFill>
                  <a:latin typeface="72 Brand Book" panose="020B0404030603020204" pitchFamily="34" charset="0"/>
                  <a:cs typeface="72-Regular" panose="020B0503030000000003" pitchFamily="34" charset="0"/>
                </a:rPr>
                <a:t>SAP Supply Chain </a:t>
              </a:r>
              <a:br>
                <a:rPr lang="en-US" sz="700">
                  <a:solidFill>
                    <a:srgbClr val="000000"/>
                  </a:solidFill>
                  <a:latin typeface="72 Brand Book" panose="020B0404030603020204" pitchFamily="34" charset="0"/>
                  <a:cs typeface="72-Regular" panose="020B0503030000000003" pitchFamily="34" charset="0"/>
                </a:rPr>
              </a:br>
              <a:r>
                <a:rPr lang="en-US" sz="700">
                  <a:solidFill>
                    <a:srgbClr val="000000"/>
                  </a:solidFill>
                  <a:latin typeface="72 Brand Book" panose="020B0404030603020204" pitchFamily="34" charset="0"/>
                  <a:cs typeface="72-Regular" panose="020B0503030000000003" pitchFamily="34" charset="0"/>
                </a:rPr>
                <a:t>Management</a:t>
              </a:r>
            </a:p>
          </p:txBody>
        </p:sp>
        <p:sp>
          <p:nvSpPr>
            <p:cNvPr id="1624" name="Rectangle: Rounded Corners 86">
              <a:extLst>
                <a:ext uri="{FF2B5EF4-FFF2-40B4-BE49-F238E27FC236}">
                  <a16:creationId xmlns:a16="http://schemas.microsoft.com/office/drawing/2014/main" id="{1F502C7F-7053-5E4F-5930-BF1B59850C94}"/>
                </a:ext>
              </a:extLst>
            </p:cNvPr>
            <p:cNvSpPr/>
            <p:nvPr/>
          </p:nvSpPr>
          <p:spPr bwMode="auto">
            <a:xfrm>
              <a:off x="3694050" y="3408749"/>
              <a:ext cx="1299600" cy="593724"/>
            </a:xfrm>
            <a:prstGeom prst="roundRect">
              <a:avLst>
                <a:gd name="adj" fmla="val 4368"/>
              </a:avLst>
            </a:prstGeom>
            <a:solidFill>
              <a:schemeClr val="bg2">
                <a:lumMod val="20000"/>
                <a:lumOff val="80000"/>
                <a:alpha val="30000"/>
              </a:schemeClr>
            </a:solidFill>
            <a:ln w="9525" cap="flat">
              <a:solidFill>
                <a:schemeClr val="bg1"/>
              </a:solidFill>
              <a:prstDash val="solid"/>
              <a:miter/>
            </a:ln>
          </p:spPr>
          <p:txBody>
            <a:bodyPr lIns="0" tIns="0" rIns="0" bIns="0" rtlCol="0" anchor="ctr"/>
            <a:lstStyle/>
            <a:p>
              <a:pPr algn="ctr" defTabSz="913304">
                <a:defRPr/>
              </a:pPr>
              <a:r>
                <a:rPr lang="en-US" sz="1000">
                  <a:solidFill>
                    <a:srgbClr val="000000"/>
                  </a:solidFill>
                  <a:latin typeface="72 Brand Book" panose="020B0404030603020204" pitchFamily="34" charset="0"/>
                  <a:cs typeface="72" panose="020B0503030000000003" pitchFamily="34" charset="0"/>
                </a:rPr>
                <a:t>Human Capital</a:t>
              </a:r>
              <a:br>
                <a:rPr lang="en-US" sz="1000">
                  <a:solidFill>
                    <a:srgbClr val="000000"/>
                  </a:solidFill>
                  <a:latin typeface="72 Brand Book" panose="020B0404030603020204" pitchFamily="34" charset="0"/>
                  <a:cs typeface="72" panose="020B0503030000000003" pitchFamily="34" charset="0"/>
                </a:rPr>
              </a:br>
              <a:r>
                <a:rPr lang="en-US" sz="1000">
                  <a:solidFill>
                    <a:srgbClr val="000000"/>
                  </a:solidFill>
                  <a:latin typeface="72 Brand Book" panose="020B0404030603020204" pitchFamily="34" charset="0"/>
                  <a:cs typeface="72" panose="020B0503030000000003" pitchFamily="34" charset="0"/>
                </a:rPr>
                <a:t>Management</a:t>
              </a:r>
            </a:p>
          </p:txBody>
        </p:sp>
        <p:sp>
          <p:nvSpPr>
            <p:cNvPr id="1625" name="Rectangle: Rounded Corners 86">
              <a:extLst>
                <a:ext uri="{FF2B5EF4-FFF2-40B4-BE49-F238E27FC236}">
                  <a16:creationId xmlns:a16="http://schemas.microsoft.com/office/drawing/2014/main" id="{E78A1A10-BD80-9260-2EB3-9B49C1048702}"/>
                </a:ext>
              </a:extLst>
            </p:cNvPr>
            <p:cNvSpPr/>
            <p:nvPr/>
          </p:nvSpPr>
          <p:spPr bwMode="auto">
            <a:xfrm>
              <a:off x="5045512" y="3408749"/>
              <a:ext cx="1299600" cy="593724"/>
            </a:xfrm>
            <a:prstGeom prst="roundRect">
              <a:avLst>
                <a:gd name="adj" fmla="val 4368"/>
              </a:avLst>
            </a:prstGeom>
            <a:solidFill>
              <a:srgbClr val="B894FF">
                <a:alpha val="46004"/>
              </a:srgbClr>
            </a:solidFill>
            <a:ln w="9525" cap="flat">
              <a:noFill/>
              <a:prstDash val="solid"/>
              <a:miter/>
            </a:ln>
          </p:spPr>
          <p:txBody>
            <a:bodyPr lIns="0" tIns="0" rIns="0" bIns="0" rtlCol="0" anchor="ctr"/>
            <a:lstStyle/>
            <a:p>
              <a:pPr algn="ctr" defTabSz="913030"/>
              <a:r>
                <a:rPr lang="en-US" sz="700" dirty="0">
                  <a:solidFill>
                    <a:srgbClr val="000000"/>
                  </a:solidFill>
                  <a:latin typeface="72 Brand Book" panose="020B0404030603020204" pitchFamily="34" charset="0"/>
                  <a:cs typeface="72-Regular" panose="020B0503030000000003" pitchFamily="34" charset="0"/>
                </a:rPr>
                <a:t>Spend Management and SAP Business Network</a:t>
              </a:r>
            </a:p>
          </p:txBody>
        </p:sp>
        <p:sp>
          <p:nvSpPr>
            <p:cNvPr id="1626" name="Rectangle: Rounded Corners 86">
              <a:extLst>
                <a:ext uri="{FF2B5EF4-FFF2-40B4-BE49-F238E27FC236}">
                  <a16:creationId xmlns:a16="http://schemas.microsoft.com/office/drawing/2014/main" id="{94CE816D-4E78-E358-CC96-3CA67B6A080C}"/>
                </a:ext>
              </a:extLst>
            </p:cNvPr>
            <p:cNvSpPr/>
            <p:nvPr/>
          </p:nvSpPr>
          <p:spPr bwMode="auto">
            <a:xfrm>
              <a:off x="6396974" y="3408749"/>
              <a:ext cx="1299600" cy="593724"/>
            </a:xfrm>
            <a:prstGeom prst="roundRect">
              <a:avLst>
                <a:gd name="adj" fmla="val 4368"/>
              </a:avLst>
            </a:prstGeom>
            <a:solidFill>
              <a:srgbClr val="B894FF">
                <a:alpha val="46004"/>
              </a:srgbClr>
            </a:solidFill>
            <a:ln w="9525" cap="flat">
              <a:noFill/>
              <a:prstDash val="solid"/>
              <a:miter/>
            </a:ln>
          </p:spPr>
          <p:txBody>
            <a:bodyPr lIns="0" tIns="0" rIns="0" bIns="0" rtlCol="0" anchor="ctr"/>
            <a:lstStyle/>
            <a:p>
              <a:pPr algn="ctr" defTabSz="913030"/>
              <a:r>
                <a:rPr lang="en-US" sz="700">
                  <a:solidFill>
                    <a:srgbClr val="000000"/>
                  </a:solidFill>
                  <a:latin typeface="72 Brand Book" panose="020B0404030603020204" pitchFamily="34" charset="0"/>
                  <a:cs typeface="72-Regular" panose="020B0503030000000003" pitchFamily="34" charset="0"/>
                </a:rPr>
                <a:t>SAP Customer Relationship</a:t>
              </a:r>
              <a:br>
                <a:rPr lang="en-US" sz="700">
                  <a:solidFill>
                    <a:srgbClr val="000000"/>
                  </a:solidFill>
                  <a:latin typeface="72 Brand Book" panose="020B0404030603020204" pitchFamily="34" charset="0"/>
                  <a:cs typeface="72-Regular" panose="020B0503030000000003" pitchFamily="34" charset="0"/>
                </a:rPr>
              </a:br>
              <a:r>
                <a:rPr lang="en-US" sz="700">
                  <a:solidFill>
                    <a:srgbClr val="000000"/>
                  </a:solidFill>
                  <a:latin typeface="72 Brand Book" panose="020B0404030603020204" pitchFamily="34" charset="0"/>
                  <a:cs typeface="72-Regular" panose="020B0503030000000003" pitchFamily="34" charset="0"/>
                </a:rPr>
                <a:t>Management</a:t>
              </a:r>
            </a:p>
          </p:txBody>
        </p:sp>
        <p:sp>
          <p:nvSpPr>
            <p:cNvPr id="1627" name="Rectangle: Rounded Corners 86">
              <a:extLst>
                <a:ext uri="{FF2B5EF4-FFF2-40B4-BE49-F238E27FC236}">
                  <a16:creationId xmlns:a16="http://schemas.microsoft.com/office/drawing/2014/main" id="{83934E2B-A7F9-E8D3-AAB2-0E7A2C64794E}"/>
                </a:ext>
              </a:extLst>
            </p:cNvPr>
            <p:cNvSpPr/>
            <p:nvPr/>
          </p:nvSpPr>
          <p:spPr bwMode="auto">
            <a:xfrm>
              <a:off x="7748435" y="3408749"/>
              <a:ext cx="1299600" cy="593724"/>
            </a:xfrm>
            <a:prstGeom prst="roundRect">
              <a:avLst>
                <a:gd name="adj" fmla="val 4368"/>
              </a:avLst>
            </a:prstGeom>
            <a:solidFill>
              <a:srgbClr val="B894FF">
                <a:alpha val="46004"/>
              </a:srgbClr>
            </a:solidFill>
            <a:ln w="9525" cap="flat">
              <a:noFill/>
              <a:prstDash val="solid"/>
              <a:miter/>
            </a:ln>
          </p:spPr>
          <p:txBody>
            <a:bodyPr lIns="0" tIns="0" rIns="0" bIns="0" rtlCol="0" anchor="ctr"/>
            <a:lstStyle/>
            <a:p>
              <a:pPr algn="ctr" defTabSz="913030"/>
              <a:r>
                <a:rPr lang="en-US" sz="700">
                  <a:solidFill>
                    <a:srgbClr val="000000"/>
                  </a:solidFill>
                  <a:latin typeface="72 Brand Book" panose="020B0404030603020204" pitchFamily="34" charset="0"/>
                  <a:cs typeface="72-Regular" panose="020B0503030000000003" pitchFamily="34" charset="0"/>
                </a:rPr>
                <a:t>SAP Business Technology Platform</a:t>
              </a:r>
            </a:p>
          </p:txBody>
        </p:sp>
        <p:grpSp>
          <p:nvGrpSpPr>
            <p:cNvPr id="1628" name="Group 1627">
              <a:extLst>
                <a:ext uri="{FF2B5EF4-FFF2-40B4-BE49-F238E27FC236}">
                  <a16:creationId xmlns:a16="http://schemas.microsoft.com/office/drawing/2014/main" id="{CE41300F-4EAB-FE30-1BCC-32ADF7E22C4E}"/>
                </a:ext>
              </a:extLst>
            </p:cNvPr>
            <p:cNvGrpSpPr/>
            <p:nvPr/>
          </p:nvGrpSpPr>
          <p:grpSpPr>
            <a:xfrm>
              <a:off x="931903" y="5249329"/>
              <a:ext cx="10331367" cy="885185"/>
              <a:chOff x="931903" y="5177609"/>
              <a:chExt cx="10331367" cy="885185"/>
            </a:xfrm>
          </p:grpSpPr>
          <p:sp>
            <p:nvSpPr>
              <p:cNvPr id="1631" name="Rectangle: Rounded Corners 93">
                <a:extLst>
                  <a:ext uri="{FF2B5EF4-FFF2-40B4-BE49-F238E27FC236}">
                    <a16:creationId xmlns:a16="http://schemas.microsoft.com/office/drawing/2014/main" id="{533AAAED-CDA2-4EE8-E325-EA8264358B23}"/>
                  </a:ext>
                </a:extLst>
              </p:cNvPr>
              <p:cNvSpPr/>
              <p:nvPr/>
            </p:nvSpPr>
            <p:spPr bwMode="auto">
              <a:xfrm>
                <a:off x="931903" y="5177609"/>
                <a:ext cx="10331367" cy="885185"/>
              </a:xfrm>
              <a:prstGeom prst="roundRect">
                <a:avLst>
                  <a:gd name="adj" fmla="val 2632"/>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00">
                  <a:defRPr/>
                </a:pPr>
                <a:endParaRPr lang="en-US" sz="800" b="1">
                  <a:solidFill>
                    <a:srgbClr val="E9ECEE"/>
                  </a:solidFill>
                  <a:latin typeface="72 Brand" panose="020B0504030603020204" pitchFamily="34" charset="0"/>
                </a:endParaRPr>
              </a:p>
            </p:txBody>
          </p:sp>
          <p:sp>
            <p:nvSpPr>
              <p:cNvPr id="1632" name="TextBox 1631">
                <a:extLst>
                  <a:ext uri="{FF2B5EF4-FFF2-40B4-BE49-F238E27FC236}">
                    <a16:creationId xmlns:a16="http://schemas.microsoft.com/office/drawing/2014/main" id="{E6DAEF4E-62D7-CC94-0352-0D117377048C}"/>
                  </a:ext>
                </a:extLst>
              </p:cNvPr>
              <p:cNvSpPr txBox="1"/>
              <p:nvPr/>
            </p:nvSpPr>
            <p:spPr>
              <a:xfrm>
                <a:off x="3803556" y="5362871"/>
                <a:ext cx="4638288" cy="276999"/>
              </a:xfrm>
              <a:prstGeom prst="rect">
                <a:avLst/>
              </a:prstGeom>
              <a:noFill/>
            </p:spPr>
            <p:txBody>
              <a:bodyPr wrap="none" lIns="0" tIns="0" rIns="0" bIns="0" rtlCol="0">
                <a:spAutoFit/>
              </a:bodyPr>
              <a:lstStyle/>
              <a:p>
                <a:pPr algn="ctr" defTabSz="914126">
                  <a:defRPr/>
                </a:pPr>
                <a:r>
                  <a:rPr lang="en-US" sz="1200" dirty="0">
                    <a:solidFill>
                      <a:srgbClr val="1C0C6E"/>
                    </a:solidFill>
                    <a:latin typeface="72 Brand Medium" panose="020B0504030603020204" pitchFamily="34" charset="0"/>
                    <a:cs typeface="72 Bold" panose="020B0803030000000003" pitchFamily="34" charset="0"/>
                  </a:rPr>
                  <a:t>AI ecosystem partnerships and investments</a:t>
                </a:r>
              </a:p>
            </p:txBody>
          </p:sp>
          <p:pic>
            <p:nvPicPr>
              <p:cNvPr id="1633" name="object 26">
                <a:extLst>
                  <a:ext uri="{FF2B5EF4-FFF2-40B4-BE49-F238E27FC236}">
                    <a16:creationId xmlns:a16="http://schemas.microsoft.com/office/drawing/2014/main" id="{E9EFB149-345C-3527-87F6-E1C14FB14588}"/>
                  </a:ext>
                </a:extLst>
              </p:cNvPr>
              <p:cNvPicPr/>
              <p:nvPr/>
            </p:nvPicPr>
            <p:blipFill>
              <a:blip r:embed="rId8">
                <a:extLst>
                  <a:ext uri="{96DAC541-7B7A-43D3-8B79-37D633B846F1}">
                    <asvg:svgBlip xmlns:asvg="http://schemas.microsoft.com/office/drawing/2016/SVG/main" r:embed="rId9"/>
                  </a:ext>
                </a:extLst>
              </a:blip>
              <a:srcRect/>
              <a:stretch/>
            </p:blipFill>
            <p:spPr>
              <a:xfrm>
                <a:off x="4869450" y="5835813"/>
                <a:ext cx="826928" cy="133645"/>
              </a:xfrm>
              <a:prstGeom prst="rect">
                <a:avLst/>
              </a:prstGeom>
            </p:spPr>
          </p:pic>
          <p:pic>
            <p:nvPicPr>
              <p:cNvPr id="1634" name="object 27">
                <a:extLst>
                  <a:ext uri="{FF2B5EF4-FFF2-40B4-BE49-F238E27FC236}">
                    <a16:creationId xmlns:a16="http://schemas.microsoft.com/office/drawing/2014/main" id="{585BB891-B78B-65C1-BECC-5EACF863F304}"/>
                  </a:ext>
                </a:extLst>
              </p:cNvPr>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rcRect/>
              <a:stretch/>
            </p:blipFill>
            <p:spPr>
              <a:xfrm>
                <a:off x="2175500" y="5854316"/>
                <a:ext cx="863013" cy="96639"/>
              </a:xfrm>
              <a:prstGeom prst="rect">
                <a:avLst/>
              </a:prstGeom>
            </p:spPr>
          </p:pic>
          <p:pic>
            <p:nvPicPr>
              <p:cNvPr id="1635" name="object 28">
                <a:extLst>
                  <a:ext uri="{FF2B5EF4-FFF2-40B4-BE49-F238E27FC236}">
                    <a16:creationId xmlns:a16="http://schemas.microsoft.com/office/drawing/2014/main" id="{00FA1C04-5AFF-0EAB-7C89-C8FE67D640E4}"/>
                  </a:ext>
                </a:extLst>
              </p:cNvPr>
              <p:cNvPicPr/>
              <p:nvPr/>
            </p:nvPicPr>
            <p:blipFill>
              <a:blip r:embed="rId12" cstate="print">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8567894" y="5822545"/>
                <a:ext cx="750463" cy="160178"/>
              </a:xfrm>
              <a:prstGeom prst="rect">
                <a:avLst/>
              </a:prstGeom>
            </p:spPr>
          </p:pic>
          <p:pic>
            <p:nvPicPr>
              <p:cNvPr id="1636" name="object 29">
                <a:extLst>
                  <a:ext uri="{FF2B5EF4-FFF2-40B4-BE49-F238E27FC236}">
                    <a16:creationId xmlns:a16="http://schemas.microsoft.com/office/drawing/2014/main" id="{483D5137-4005-8795-6A92-7A5DD93D76EF}"/>
                  </a:ext>
                </a:extLst>
              </p:cNvPr>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rcRect/>
              <a:stretch/>
            </p:blipFill>
            <p:spPr>
              <a:xfrm>
                <a:off x="7108634" y="5836401"/>
                <a:ext cx="331167" cy="132466"/>
              </a:xfrm>
              <a:prstGeom prst="rect">
                <a:avLst/>
              </a:prstGeom>
            </p:spPr>
          </p:pic>
          <p:pic>
            <p:nvPicPr>
              <p:cNvPr id="1637" name="object 30">
                <a:extLst>
                  <a:ext uri="{FF2B5EF4-FFF2-40B4-BE49-F238E27FC236}">
                    <a16:creationId xmlns:a16="http://schemas.microsoft.com/office/drawing/2014/main" id="{A87540BA-550D-5BB5-6F93-E81B9EEDACCC}"/>
                  </a:ext>
                </a:extLst>
              </p:cNvPr>
              <p:cNvPicPr/>
              <p:nvPr/>
            </p:nvPicPr>
            <p:blipFill>
              <a:blip r:embed="rId16" cstate="screen">
                <a:extLst>
                  <a:ext uri="{28A0092B-C50C-407E-A947-70E740481C1C}">
                    <a14:useLocalDpi xmlns:a14="http://schemas.microsoft.com/office/drawing/2010/main"/>
                  </a:ext>
                </a:extLst>
              </a:blip>
              <a:stretch>
                <a:fillRect/>
              </a:stretch>
            </p:blipFill>
            <p:spPr>
              <a:xfrm>
                <a:off x="5951396" y="5822547"/>
                <a:ext cx="902221" cy="160177"/>
              </a:xfrm>
              <a:prstGeom prst="rect">
                <a:avLst/>
              </a:prstGeom>
            </p:spPr>
          </p:pic>
          <p:pic>
            <p:nvPicPr>
              <p:cNvPr id="1638" name="object 33">
                <a:extLst>
                  <a:ext uri="{FF2B5EF4-FFF2-40B4-BE49-F238E27FC236}">
                    <a16:creationId xmlns:a16="http://schemas.microsoft.com/office/drawing/2014/main" id="{A9A695EB-E1C6-0B2E-FF20-440A6DBBD687}"/>
                  </a:ext>
                </a:extLst>
              </p:cNvPr>
              <p:cNvPicPr/>
              <p:nvPr/>
            </p:nvPicPr>
            <p:blipFill>
              <a:blip r:embed="rId17" cstate="screen">
                <a:extLst>
                  <a:ext uri="{28A0092B-C50C-407E-A947-70E740481C1C}">
                    <a14:useLocalDpi xmlns:a14="http://schemas.microsoft.com/office/drawing/2010/main"/>
                  </a:ext>
                </a:extLst>
              </a:blip>
              <a:srcRect/>
              <a:stretch/>
            </p:blipFill>
            <p:spPr>
              <a:xfrm>
                <a:off x="1118920" y="5795759"/>
                <a:ext cx="801562" cy="213750"/>
              </a:xfrm>
              <a:prstGeom prst="rect">
                <a:avLst/>
              </a:prstGeom>
            </p:spPr>
          </p:pic>
          <p:pic>
            <p:nvPicPr>
              <p:cNvPr id="1639" name="object 34">
                <a:extLst>
                  <a:ext uri="{FF2B5EF4-FFF2-40B4-BE49-F238E27FC236}">
                    <a16:creationId xmlns:a16="http://schemas.microsoft.com/office/drawing/2014/main" id="{DFEAF11E-5108-D0B1-1879-7A16415CF75B}"/>
                  </a:ext>
                </a:extLst>
              </p:cNvPr>
              <p:cNvPicPr/>
              <p:nvPr/>
            </p:nvPicPr>
            <p:blipFill>
              <a:blip r:embed="rId18" cstate="print">
                <a:extLst>
                  <a:ext uri="{28A0092B-C50C-407E-A947-70E740481C1C}">
                    <a14:useLocalDpi xmlns:a14="http://schemas.microsoft.com/office/drawing/2010/main"/>
                  </a:ext>
                  <a:ext uri="{96DAC541-7B7A-43D3-8B79-37D633B846F1}">
                    <asvg:svgBlip xmlns:asvg="http://schemas.microsoft.com/office/drawing/2016/SVG/main" r:embed="rId19"/>
                  </a:ext>
                </a:extLst>
              </a:blip>
              <a:srcRect/>
              <a:stretch/>
            </p:blipFill>
            <p:spPr>
              <a:xfrm>
                <a:off x="3862113" y="5839941"/>
                <a:ext cx="752320" cy="125386"/>
              </a:xfrm>
              <a:prstGeom prst="rect">
                <a:avLst/>
              </a:prstGeom>
            </p:spPr>
          </p:pic>
          <p:pic>
            <p:nvPicPr>
              <p:cNvPr id="1640" name="object 35">
                <a:extLst>
                  <a:ext uri="{FF2B5EF4-FFF2-40B4-BE49-F238E27FC236}">
                    <a16:creationId xmlns:a16="http://schemas.microsoft.com/office/drawing/2014/main" id="{DBD26ADC-0D3B-F255-95DE-2F203E535FCD}"/>
                  </a:ext>
                </a:extLst>
              </p:cNvPr>
              <p:cNvPicPr/>
              <p:nvPr/>
            </p:nvPicPr>
            <p:blipFill>
              <a:blip r:embed="rId20" cstate="screen">
                <a:extLst>
                  <a:ext uri="{28A0092B-C50C-407E-A947-70E740481C1C}">
                    <a14:useLocalDpi xmlns:a14="http://schemas.microsoft.com/office/drawing/2010/main"/>
                  </a:ext>
                </a:extLst>
              </a:blip>
              <a:srcRect/>
              <a:stretch/>
            </p:blipFill>
            <p:spPr>
              <a:xfrm>
                <a:off x="3293530" y="5808933"/>
                <a:ext cx="313567" cy="187405"/>
              </a:xfrm>
              <a:prstGeom prst="rect">
                <a:avLst/>
              </a:prstGeom>
            </p:spPr>
          </p:pic>
          <p:pic>
            <p:nvPicPr>
              <p:cNvPr id="1641" name="Graphic 1640">
                <a:extLst>
                  <a:ext uri="{FF2B5EF4-FFF2-40B4-BE49-F238E27FC236}">
                    <a16:creationId xmlns:a16="http://schemas.microsoft.com/office/drawing/2014/main" id="{81A83FF3-7A04-FBFD-A81D-47BA4FDD36B2}"/>
                  </a:ext>
                </a:extLst>
              </p:cNvPr>
              <p:cNvPicPr>
                <a:picLocks noChangeAspect="1"/>
              </p:cNvPicPr>
              <p:nvPr/>
            </p:nvPicPr>
            <p:blipFill>
              <a:blip r:embed="rId21" cstate="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7694818" y="5840480"/>
                <a:ext cx="618059" cy="124308"/>
              </a:xfrm>
              <a:prstGeom prst="rect">
                <a:avLst/>
              </a:prstGeom>
            </p:spPr>
          </p:pic>
          <p:pic>
            <p:nvPicPr>
              <p:cNvPr id="1642" name="Picture 1641">
                <a:extLst>
                  <a:ext uri="{FF2B5EF4-FFF2-40B4-BE49-F238E27FC236}">
                    <a16:creationId xmlns:a16="http://schemas.microsoft.com/office/drawing/2014/main" id="{B691539C-53B1-1EEF-7B36-E568C1B466B1}"/>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573373" y="5807138"/>
                <a:ext cx="518266" cy="198398"/>
              </a:xfrm>
              <a:prstGeom prst="rect">
                <a:avLst/>
              </a:prstGeom>
            </p:spPr>
          </p:pic>
          <p:pic>
            <p:nvPicPr>
              <p:cNvPr id="1643" name="Picture 1642">
                <a:extLst>
                  <a:ext uri="{FF2B5EF4-FFF2-40B4-BE49-F238E27FC236}">
                    <a16:creationId xmlns:a16="http://schemas.microsoft.com/office/drawing/2014/main" id="{91C33735-48FC-21A6-0CD1-FB6CEBB7BF64}"/>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10346653" y="5834243"/>
                <a:ext cx="729600" cy="136800"/>
              </a:xfrm>
              <a:prstGeom prst="rect">
                <a:avLst/>
              </a:prstGeom>
            </p:spPr>
          </p:pic>
        </p:grpSp>
        <p:sp>
          <p:nvSpPr>
            <p:cNvPr id="1630" name="Rectangle: Rounded Corners 86">
              <a:extLst>
                <a:ext uri="{FF2B5EF4-FFF2-40B4-BE49-F238E27FC236}">
                  <a16:creationId xmlns:a16="http://schemas.microsoft.com/office/drawing/2014/main" id="{9186B28F-AAF7-1707-DFA1-9B7232559EC7}"/>
                </a:ext>
              </a:extLst>
            </p:cNvPr>
            <p:cNvSpPr/>
            <p:nvPr/>
          </p:nvSpPr>
          <p:spPr bwMode="auto">
            <a:xfrm>
              <a:off x="3693461" y="3406810"/>
              <a:ext cx="1299600" cy="593724"/>
            </a:xfrm>
            <a:prstGeom prst="roundRect">
              <a:avLst>
                <a:gd name="adj" fmla="val 4368"/>
              </a:avLst>
            </a:prstGeom>
            <a:solidFill>
              <a:schemeClr val="accent6">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126"/>
              <a:r>
                <a:rPr lang="en-US" sz="800" b="1" dirty="0">
                  <a:solidFill>
                    <a:srgbClr val="E9ECEE"/>
                  </a:solidFill>
                  <a:latin typeface="72 Brand" panose="020B0504030603020204" pitchFamily="34" charset="0"/>
                </a:rPr>
                <a:t>Human Capital</a:t>
              </a:r>
              <a:br>
                <a:rPr lang="en-US" sz="800" b="1" dirty="0">
                  <a:solidFill>
                    <a:srgbClr val="E9ECEE"/>
                  </a:solidFill>
                  <a:latin typeface="72 Brand" panose="020B0504030603020204" pitchFamily="34" charset="0"/>
                </a:rPr>
              </a:br>
              <a:r>
                <a:rPr lang="en-US" sz="800" b="1" dirty="0">
                  <a:solidFill>
                    <a:srgbClr val="E9ECEE"/>
                  </a:solidFill>
                  <a:latin typeface="72 Brand" panose="020B0504030603020204" pitchFamily="34" charset="0"/>
                </a:rPr>
                <a:t>Management</a:t>
              </a:r>
            </a:p>
          </p:txBody>
        </p:sp>
      </p:grpSp>
    </p:spTree>
    <p:extLst>
      <p:ext uri="{BB962C8B-B14F-4D97-AF65-F5344CB8AC3E}">
        <p14:creationId xmlns:p14="http://schemas.microsoft.com/office/powerpoint/2010/main" val="29204513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3FA0017-747B-4A64-AE07-B920DF724234}"/>
              </a:ext>
            </a:extLst>
          </p:cNvPr>
          <p:cNvSpPr txBox="1"/>
          <p:nvPr/>
        </p:nvSpPr>
        <p:spPr>
          <a:xfrm>
            <a:off x="3878001" y="5447570"/>
            <a:ext cx="4598126" cy="430887"/>
          </a:xfrm>
          <a:prstGeom prst="rect">
            <a:avLst/>
          </a:prstGeom>
          <a:noFill/>
        </p:spPr>
        <p:txBody>
          <a:bodyPr wrap="square" lIns="0" tIns="0" rIns="0" bIns="0" rtlCol="0">
            <a:spAutoFit/>
          </a:bodyPr>
          <a:lstStyle/>
          <a:p>
            <a:pPr defTabSz="914400" fontAlgn="base">
              <a:spcBef>
                <a:spcPct val="50000"/>
              </a:spcBef>
              <a:spcAft>
                <a:spcPct val="0"/>
              </a:spcAft>
              <a:buClr>
                <a:srgbClr val="F0AB00"/>
              </a:buClr>
              <a:buSzPct val="80000"/>
              <a:defRPr/>
            </a:pPr>
            <a:r>
              <a:rPr lang="de-DE" sz="1400" i="1" kern="0" dirty="0">
                <a:solidFill>
                  <a:srgbClr val="1B90FF"/>
                </a:solidFill>
                <a:latin typeface="72 Brand" panose="020B0504030603020204" pitchFamily="34" charset="0"/>
                <a:ea typeface="Arial Unicode MS" pitchFamily="34" charset="-128"/>
                <a:cs typeface="Arial Unicode MS" pitchFamily="34" charset="-128"/>
              </a:rPr>
              <a:t>„Year 2024 was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the</a:t>
            </a:r>
            <a:r>
              <a:rPr lang="de-DE" sz="1400" i="1" kern="0" dirty="0">
                <a:solidFill>
                  <a:srgbClr val="1B90FF"/>
                </a:solidFill>
                <a:latin typeface="72 Brand" panose="020B0504030603020204" pitchFamily="34" charset="0"/>
                <a:ea typeface="Arial Unicode MS" pitchFamily="34" charset="-128"/>
                <a:cs typeface="Arial Unicode MS" pitchFamily="34" charset="-128"/>
              </a:rPr>
              <a:t> fastes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moving</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year</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ever</a:t>
            </a:r>
            <a:r>
              <a:rPr lang="de-DE" sz="1400" i="1" kern="0" dirty="0">
                <a:solidFill>
                  <a:srgbClr val="1B90FF"/>
                </a:solidFill>
                <a:latin typeface="72 Brand" panose="020B0504030603020204" pitchFamily="34" charset="0"/>
                <a:ea typeface="Arial Unicode MS" pitchFamily="34" charset="-128"/>
                <a:cs typeface="Arial Unicode MS" pitchFamily="34" charset="-128"/>
              </a:rPr>
              <a:t> – </a:t>
            </a:r>
            <a:br>
              <a:rPr lang="de-DE" sz="1400" i="1" kern="0" dirty="0">
                <a:solidFill>
                  <a:srgbClr val="1B90FF"/>
                </a:solidFill>
                <a:latin typeface="72 Brand" panose="020B0504030603020204" pitchFamily="34" charset="0"/>
                <a:ea typeface="Arial Unicode MS" pitchFamily="34" charset="-128"/>
                <a:cs typeface="Arial Unicode MS" pitchFamily="34" charset="-128"/>
              </a:rPr>
            </a:br>
            <a:r>
              <a:rPr lang="de-DE" sz="1400" i="1" kern="0" dirty="0">
                <a:solidFill>
                  <a:srgbClr val="1B90FF"/>
                </a:solidFill>
                <a:latin typeface="72 Brand" panose="020B0504030603020204" pitchFamily="34" charset="0"/>
                <a:ea typeface="Arial Unicode MS" pitchFamily="34" charset="-128"/>
                <a:cs typeface="Arial Unicode MS" pitchFamily="34" charset="-128"/>
              </a:rPr>
              <a:t>bu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it</a:t>
            </a:r>
            <a:r>
              <a:rPr lang="de-DE" sz="1400" i="1" kern="0" dirty="0">
                <a:solidFill>
                  <a:srgbClr val="1B90FF"/>
                </a:solidFill>
                <a:latin typeface="72 Brand" panose="020B0504030603020204" pitchFamily="34" charset="0"/>
                <a:ea typeface="Arial Unicode MS" pitchFamily="34" charset="-128"/>
                <a:cs typeface="Arial Unicode MS" pitchFamily="34" charset="-128"/>
              </a:rPr>
              <a:t> will also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be</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the</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slowest</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year</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from</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now</a:t>
            </a:r>
            <a:r>
              <a:rPr lang="de-DE" sz="1400" i="1" kern="0" dirty="0">
                <a:solidFill>
                  <a:srgbClr val="1B90FF"/>
                </a:solidFill>
                <a:latin typeface="72 Brand" panose="020B0504030603020204" pitchFamily="34" charset="0"/>
                <a:ea typeface="Arial Unicode MS" pitchFamily="34" charset="-128"/>
                <a:cs typeface="Arial Unicode MS" pitchFamily="34" charset="-128"/>
              </a:rPr>
              <a:t> on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to</a:t>
            </a:r>
            <a:r>
              <a:rPr lang="de-DE" sz="1400" i="1" kern="0" dirty="0">
                <a:solidFill>
                  <a:srgbClr val="1B90FF"/>
                </a:solidFill>
                <a:latin typeface="72 Brand" panose="020B0504030603020204" pitchFamily="34" charset="0"/>
                <a:ea typeface="Arial Unicode MS" pitchFamily="34" charset="-128"/>
                <a:cs typeface="Arial Unicode MS" pitchFamily="34" charset="-128"/>
              </a:rPr>
              <a:t> </a:t>
            </a:r>
            <a:r>
              <a:rPr lang="de-DE" sz="1400" i="1" kern="0" dirty="0" err="1">
                <a:solidFill>
                  <a:srgbClr val="1B90FF"/>
                </a:solidFill>
                <a:latin typeface="72 Brand" panose="020B0504030603020204" pitchFamily="34" charset="0"/>
                <a:ea typeface="Arial Unicode MS" pitchFamily="34" charset="-128"/>
                <a:cs typeface="Arial Unicode MS" pitchFamily="34" charset="-128"/>
              </a:rPr>
              <a:t>come</a:t>
            </a:r>
            <a:r>
              <a:rPr lang="de-DE" sz="1400" i="1" kern="0" dirty="0">
                <a:solidFill>
                  <a:srgbClr val="1B90FF"/>
                </a:solidFill>
                <a:latin typeface="72 Brand" panose="020B0504030603020204" pitchFamily="34" charset="0"/>
                <a:ea typeface="Arial Unicode MS" pitchFamily="34" charset="-128"/>
                <a:cs typeface="Arial Unicode MS" pitchFamily="34" charset="-128"/>
              </a:rPr>
              <a:t>.“</a:t>
            </a:r>
          </a:p>
        </p:txBody>
      </p:sp>
      <p:pic>
        <p:nvPicPr>
          <p:cNvPr id="6" name="Picture 5">
            <a:extLst>
              <a:ext uri="{FF2B5EF4-FFF2-40B4-BE49-F238E27FC236}">
                <a16:creationId xmlns:a16="http://schemas.microsoft.com/office/drawing/2014/main" id="{F4FB6C19-B294-0093-6825-3D220F14E040}"/>
              </a:ext>
            </a:extLst>
          </p:cNvPr>
          <p:cNvPicPr>
            <a:picLocks noChangeAspect="1"/>
          </p:cNvPicPr>
          <p:nvPr/>
        </p:nvPicPr>
        <p:blipFill>
          <a:blip r:embed="rId2"/>
          <a:stretch>
            <a:fillRect/>
          </a:stretch>
        </p:blipFill>
        <p:spPr>
          <a:xfrm>
            <a:off x="492213" y="2168697"/>
            <a:ext cx="5214060" cy="2932909"/>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91EBB78-23E5-2480-FFCC-FAC24B764746}"/>
              </a:ext>
            </a:extLst>
          </p:cNvPr>
          <p:cNvPicPr>
            <a:picLocks noChangeAspect="1"/>
          </p:cNvPicPr>
          <p:nvPr/>
        </p:nvPicPr>
        <p:blipFill>
          <a:blip r:embed="rId3"/>
          <a:stretch>
            <a:fillRect/>
          </a:stretch>
        </p:blipFill>
        <p:spPr>
          <a:xfrm>
            <a:off x="6455208" y="2168698"/>
            <a:ext cx="5214059" cy="2932908"/>
          </a:xfrm>
          <a:prstGeom prst="rect">
            <a:avLst/>
          </a:prstGeom>
          <a:ln>
            <a:noFill/>
          </a:ln>
          <a:effectLst>
            <a:outerShdw blurRad="292100" dist="139700" dir="2700000" algn="tl" rotWithShape="0">
              <a:srgbClr val="333333">
                <a:alpha val="65000"/>
              </a:srgbClr>
            </a:outerShdw>
          </a:effectLst>
        </p:spPr>
      </p:pic>
      <p:sp>
        <p:nvSpPr>
          <p:cNvPr id="8" name="TextBox 7">
            <a:extLst>
              <a:ext uri="{FF2B5EF4-FFF2-40B4-BE49-F238E27FC236}">
                <a16:creationId xmlns:a16="http://schemas.microsoft.com/office/drawing/2014/main" id="{A446A621-060A-EF6C-C705-357F1CD46D96}"/>
              </a:ext>
            </a:extLst>
          </p:cNvPr>
          <p:cNvSpPr txBox="1"/>
          <p:nvPr/>
        </p:nvSpPr>
        <p:spPr>
          <a:xfrm>
            <a:off x="492213" y="1781165"/>
            <a:ext cx="4166675" cy="246221"/>
          </a:xfrm>
          <a:prstGeom prst="rect">
            <a:avLst/>
          </a:prstGeom>
          <a:noFill/>
        </p:spPr>
        <p:txBody>
          <a:bodyPr wrap="square" lIns="0" tIns="0" rIns="0" bIns="0" rtlCol="0">
            <a:spAutoFit/>
          </a:bodyPr>
          <a:lstStyle/>
          <a:p>
            <a:pPr defTabSz="914400" fontAlgn="base">
              <a:spcBef>
                <a:spcPct val="50000"/>
              </a:spcBef>
              <a:spcAft>
                <a:spcPct val="0"/>
              </a:spcAft>
              <a:buClr>
                <a:srgbClr val="000000"/>
              </a:buClr>
              <a:buSzPct val="100000"/>
              <a:defRPr/>
            </a:pPr>
            <a:r>
              <a:rPr lang="de-DE" sz="1600" kern="0" dirty="0">
                <a:solidFill>
                  <a:srgbClr val="000000"/>
                </a:solidFill>
                <a:latin typeface="72 Brand" panose="020B0504030603020204" pitchFamily="34" charset="0"/>
                <a:ea typeface="Arial Unicode MS" pitchFamily="34" charset="-128"/>
                <a:cs typeface="Arial Unicode MS" pitchFamily="34" charset="-128"/>
              </a:rPr>
              <a:t>2024: Freigabe von </a:t>
            </a:r>
            <a:r>
              <a:rPr lang="de-DE" sz="1600" b="1" kern="0" dirty="0">
                <a:solidFill>
                  <a:srgbClr val="000000"/>
                </a:solidFill>
                <a:latin typeface="72 Brand" panose="020B0504030603020204" pitchFamily="34" charset="0"/>
                <a:ea typeface="Arial Unicode MS" pitchFamily="34" charset="-128"/>
                <a:cs typeface="Arial Unicode MS" pitchFamily="34" charset="-128"/>
              </a:rPr>
              <a:t>130</a:t>
            </a:r>
            <a:r>
              <a:rPr lang="de-DE" sz="1600" kern="0" dirty="0">
                <a:solidFill>
                  <a:srgbClr val="000000"/>
                </a:solidFill>
                <a:latin typeface="72 Brand" panose="020B0504030603020204" pitchFamily="34" charset="0"/>
                <a:ea typeface="Arial Unicode MS" pitchFamily="34" charset="-128"/>
                <a:cs typeface="Arial Unicode MS" pitchFamily="34" charset="-128"/>
              </a:rPr>
              <a:t> Anwendungsfällen</a:t>
            </a:r>
          </a:p>
        </p:txBody>
      </p:sp>
      <p:sp>
        <p:nvSpPr>
          <p:cNvPr id="9" name="TextBox 8">
            <a:extLst>
              <a:ext uri="{FF2B5EF4-FFF2-40B4-BE49-F238E27FC236}">
                <a16:creationId xmlns:a16="http://schemas.microsoft.com/office/drawing/2014/main" id="{2E0FEBCA-1E8D-6DB8-801B-29A3BBC7AFC3}"/>
              </a:ext>
            </a:extLst>
          </p:cNvPr>
          <p:cNvSpPr txBox="1"/>
          <p:nvPr/>
        </p:nvSpPr>
        <p:spPr>
          <a:xfrm>
            <a:off x="6455209" y="1781164"/>
            <a:ext cx="3909434" cy="246221"/>
          </a:xfrm>
          <a:prstGeom prst="rect">
            <a:avLst/>
          </a:prstGeom>
          <a:noFill/>
        </p:spPr>
        <p:txBody>
          <a:bodyPr wrap="square" lIns="0" tIns="0" rIns="0" bIns="0" rtlCol="0">
            <a:spAutoFit/>
          </a:bodyPr>
          <a:lstStyle/>
          <a:p>
            <a:pPr defTabSz="914400" fontAlgn="base">
              <a:spcBef>
                <a:spcPct val="50000"/>
              </a:spcBef>
              <a:spcAft>
                <a:spcPct val="0"/>
              </a:spcAft>
              <a:buClr>
                <a:srgbClr val="000000"/>
              </a:buClr>
              <a:buSzPct val="100000"/>
              <a:defRPr/>
            </a:pPr>
            <a:r>
              <a:rPr lang="de-DE" sz="1600" kern="0" dirty="0">
                <a:solidFill>
                  <a:srgbClr val="000000"/>
                </a:solidFill>
                <a:latin typeface="72 Brand" panose="020B0504030603020204" pitchFamily="34" charset="0"/>
                <a:ea typeface="Arial Unicode MS" pitchFamily="34" charset="-128"/>
                <a:cs typeface="Arial Unicode MS" pitchFamily="34" charset="-128"/>
              </a:rPr>
              <a:t>2025: mehr als </a:t>
            </a:r>
            <a:r>
              <a:rPr lang="de-DE" sz="1600" b="1" kern="0" dirty="0">
                <a:solidFill>
                  <a:srgbClr val="000000"/>
                </a:solidFill>
                <a:latin typeface="72 Brand" panose="020B0504030603020204" pitchFamily="34" charset="0"/>
                <a:ea typeface="Arial Unicode MS" pitchFamily="34" charset="-128"/>
                <a:cs typeface="Arial Unicode MS" pitchFamily="34" charset="-128"/>
              </a:rPr>
              <a:t>300</a:t>
            </a:r>
            <a:r>
              <a:rPr lang="de-DE" sz="1600" kern="0" dirty="0">
                <a:solidFill>
                  <a:srgbClr val="000000"/>
                </a:solidFill>
                <a:latin typeface="72 Brand" panose="020B0504030603020204" pitchFamily="34" charset="0"/>
                <a:ea typeface="Arial Unicode MS" pitchFamily="34" charset="-128"/>
                <a:cs typeface="Arial Unicode MS" pitchFamily="34" charset="-128"/>
              </a:rPr>
              <a:t> Anwendungsfällen </a:t>
            </a:r>
          </a:p>
        </p:txBody>
      </p:sp>
      <p:sp>
        <p:nvSpPr>
          <p:cNvPr id="10" name="Chevron 116">
            <a:extLst>
              <a:ext uri="{FF2B5EF4-FFF2-40B4-BE49-F238E27FC236}">
                <a16:creationId xmlns:a16="http://schemas.microsoft.com/office/drawing/2014/main" id="{2FCF96E0-3F47-3A03-06D0-FE20BDA15886}"/>
              </a:ext>
            </a:extLst>
          </p:cNvPr>
          <p:cNvSpPr/>
          <p:nvPr/>
        </p:nvSpPr>
        <p:spPr bwMode="gray">
          <a:xfrm>
            <a:off x="5931891" y="3398227"/>
            <a:ext cx="331392" cy="538485"/>
          </a:xfrm>
          <a:prstGeom prst="chevron">
            <a:avLst>
              <a:gd name="adj" fmla="val 57234"/>
            </a:avLst>
          </a:prstGeom>
          <a:gradFill flip="none" rotWithShape="1">
            <a:gsLst>
              <a:gs pos="29000">
                <a:srgbClr val="0070F2"/>
              </a:gs>
              <a:gs pos="87000">
                <a:srgbClr val="48A5FF"/>
              </a:gs>
            </a:gsLst>
            <a:lin ang="13500000" scaled="1"/>
            <a:tileRect/>
          </a:gradFill>
          <a:ln w="28575" algn="ctr">
            <a:noFill/>
            <a:miter lim="800000"/>
            <a:headEnd/>
            <a:tailEnd/>
          </a:ln>
        </p:spPr>
        <p:txBody>
          <a:bodyPr wrap="square" lIns="89954" tIns="71962" rIns="89954" bIns="71962" rtlCol="0" anchor="ctr">
            <a:noAutofit/>
          </a:bodyPr>
          <a:lstStyle/>
          <a:p>
            <a:pPr algn="ctr" defTabSz="913578" fontAlgn="base">
              <a:spcBef>
                <a:spcPct val="50000"/>
              </a:spcBef>
              <a:spcAft>
                <a:spcPct val="0"/>
              </a:spcAft>
              <a:buClr>
                <a:srgbClr val="F0AB00"/>
              </a:buClr>
              <a:buSzPct val="80000"/>
              <a:defRPr/>
            </a:pPr>
            <a:endParaRPr lang="en-US" sz="1200" b="1" kern="0" spc="200">
              <a:solidFill>
                <a:srgbClr val="FFFFFF"/>
              </a:solidFill>
              <a:latin typeface="Arial" panose="020B0604020202020204" pitchFamily="34" charset="0"/>
              <a:ea typeface="Arial Unicode MS" pitchFamily="34" charset="-128"/>
              <a:cs typeface="Arial" panose="020B0604020202020204" pitchFamily="34" charset="0"/>
            </a:endParaRPr>
          </a:p>
        </p:txBody>
      </p:sp>
      <p:sp>
        <p:nvSpPr>
          <p:cNvPr id="2" name="TextBox 1">
            <a:extLst>
              <a:ext uri="{FF2B5EF4-FFF2-40B4-BE49-F238E27FC236}">
                <a16:creationId xmlns:a16="http://schemas.microsoft.com/office/drawing/2014/main" id="{FAF78BA3-E526-68DE-7144-099924493728}"/>
              </a:ext>
            </a:extLst>
          </p:cNvPr>
          <p:cNvSpPr txBox="1"/>
          <p:nvPr/>
        </p:nvSpPr>
        <p:spPr>
          <a:xfrm>
            <a:off x="3202" y="475326"/>
            <a:ext cx="12188798" cy="492122"/>
          </a:xfrm>
          <a:prstGeom prst="rect">
            <a:avLst/>
          </a:prstGeom>
          <a:noFill/>
        </p:spPr>
        <p:txBody>
          <a:bodyPr wrap="square" lIns="0" tIns="0" rIns="0" bIns="0" rtlCol="0">
            <a:spAutoFit/>
          </a:bodyPr>
          <a:lstStyle>
            <a:defPPr>
              <a:defRPr lang="en-DE"/>
            </a:defPPr>
            <a:lvl1pPr>
              <a:defRPr sz="3600" b="1" spc="-70">
                <a:latin typeface="72 Brand" panose="020B0504030603020204" pitchFamily="34" charset="0"/>
                <a:cs typeface="72-Bold" panose="020B0503030000000003" pitchFamily="34" charset="0"/>
              </a:defRPr>
            </a:lvl1pPr>
          </a:lstStyle>
          <a:p>
            <a:pPr algn="ctr" defTabSz="914126" fontAlgn="base">
              <a:spcBef>
                <a:spcPct val="0"/>
              </a:spcBef>
              <a:spcAft>
                <a:spcPct val="0"/>
              </a:spcAft>
              <a:defRPr/>
            </a:pPr>
            <a:r>
              <a:rPr lang="de-DE" sz="3198" spc="0" dirty="0">
                <a:gradFill flip="none" rotWithShape="1">
                  <a:gsLst>
                    <a:gs pos="85000">
                      <a:srgbClr val="0070F2"/>
                    </a:gs>
                    <a:gs pos="70000">
                      <a:srgbClr val="5D36FF"/>
                    </a:gs>
                    <a:gs pos="20000">
                      <a:srgbClr val="1C0C6E"/>
                    </a:gs>
                    <a:gs pos="95000">
                      <a:srgbClr val="1B90FF"/>
                    </a:gs>
                  </a:gsLst>
                  <a:lin ang="2220000" scaled="0"/>
                  <a:tileRect/>
                </a:gradFill>
              </a:rPr>
              <a:t>KI ist eine Reise – kein „</a:t>
            </a:r>
            <a:r>
              <a:rPr lang="de-DE" sz="3198" spc="0" dirty="0" err="1">
                <a:gradFill flip="none" rotWithShape="1">
                  <a:gsLst>
                    <a:gs pos="85000">
                      <a:srgbClr val="0070F2"/>
                    </a:gs>
                    <a:gs pos="70000">
                      <a:srgbClr val="5D36FF"/>
                    </a:gs>
                    <a:gs pos="20000">
                      <a:srgbClr val="1C0C6E"/>
                    </a:gs>
                    <a:gs pos="95000">
                      <a:srgbClr val="1B90FF"/>
                    </a:gs>
                  </a:gsLst>
                  <a:lin ang="2220000" scaled="0"/>
                  <a:tileRect/>
                </a:gradFill>
              </a:rPr>
              <a:t>One</a:t>
            </a:r>
            <a:r>
              <a:rPr lang="de-DE" sz="3198" spc="0" dirty="0">
                <a:gradFill flip="none" rotWithShape="1">
                  <a:gsLst>
                    <a:gs pos="85000">
                      <a:srgbClr val="0070F2"/>
                    </a:gs>
                    <a:gs pos="70000">
                      <a:srgbClr val="5D36FF"/>
                    </a:gs>
                    <a:gs pos="20000">
                      <a:srgbClr val="1C0C6E"/>
                    </a:gs>
                    <a:gs pos="95000">
                      <a:srgbClr val="1B90FF"/>
                    </a:gs>
                  </a:gsLst>
                  <a:lin ang="2220000" scaled="0"/>
                  <a:tileRect/>
                </a:gradFill>
              </a:rPr>
              <a:t>-Shot“ Ansatz</a:t>
            </a:r>
            <a:endParaRPr lang="en-US" sz="3198" spc="0" dirty="0">
              <a:gradFill flip="none" rotWithShape="1">
                <a:gsLst>
                  <a:gs pos="85000">
                    <a:srgbClr val="0070F2"/>
                  </a:gs>
                  <a:gs pos="70000">
                    <a:srgbClr val="5D36FF"/>
                  </a:gs>
                  <a:gs pos="20000">
                    <a:srgbClr val="1C0C6E"/>
                  </a:gs>
                  <a:gs pos="95000">
                    <a:srgbClr val="1B90FF"/>
                  </a:gs>
                </a:gsLst>
                <a:lin ang="2220000" scaled="0"/>
                <a:tileRect/>
              </a:gradFill>
            </a:endParaRPr>
          </a:p>
        </p:txBody>
      </p:sp>
      <p:sp>
        <p:nvSpPr>
          <p:cNvPr id="3" name="TextBox 12">
            <a:extLst>
              <a:ext uri="{FF2B5EF4-FFF2-40B4-BE49-F238E27FC236}">
                <a16:creationId xmlns:a16="http://schemas.microsoft.com/office/drawing/2014/main" id="{A2B412E2-8048-BAA2-AEE7-EEE6672C0475}"/>
              </a:ext>
            </a:extLst>
          </p:cNvPr>
          <p:cNvSpPr txBox="1"/>
          <p:nvPr/>
        </p:nvSpPr>
        <p:spPr>
          <a:xfrm>
            <a:off x="3878001" y="1016658"/>
            <a:ext cx="4439293" cy="215444"/>
          </a:xfrm>
          <a:prstGeom prst="rect">
            <a:avLst/>
          </a:prstGeom>
          <a:noFill/>
        </p:spPr>
        <p:txBody>
          <a:bodyPr wrap="none" lIns="0" tIns="0" rIns="0" bIns="0" rtlCol="0">
            <a:spAutoFit/>
          </a:bodyPr>
          <a:lstStyle/>
          <a:p>
            <a:pPr algn="ctr" defTabSz="1088122">
              <a:defRPr/>
            </a:pPr>
            <a:r>
              <a:rPr lang="de-DE" sz="1400" dirty="0">
                <a:solidFill>
                  <a:srgbClr val="00144A"/>
                </a:solidFill>
                <a:latin typeface="72 Brand Book" panose="020B0404030603020204" pitchFamily="34" charset="0"/>
              </a:rPr>
              <a:t>Technologischer Fortschritt in einem Tempo wie nie zuvor</a:t>
            </a:r>
            <a:endParaRPr lang="en-US" sz="1400" dirty="0">
              <a:solidFill>
                <a:srgbClr val="00144A"/>
              </a:solidFill>
              <a:latin typeface="72 Brand Book" panose="020B0404030603020204" pitchFamily="34" charset="0"/>
            </a:endParaRPr>
          </a:p>
        </p:txBody>
      </p:sp>
      <p:sp>
        <p:nvSpPr>
          <p:cNvPr id="4" name="Rectangle 3">
            <a:extLst>
              <a:ext uri="{FF2B5EF4-FFF2-40B4-BE49-F238E27FC236}">
                <a16:creationId xmlns:a16="http://schemas.microsoft.com/office/drawing/2014/main" id="{D699F43D-6E19-6136-82B0-1D39425125FE}"/>
              </a:ext>
            </a:extLst>
          </p:cNvPr>
          <p:cNvSpPr/>
          <p:nvPr/>
        </p:nvSpPr>
        <p:spPr bwMode="gray">
          <a:xfrm>
            <a:off x="591671" y="3003866"/>
            <a:ext cx="1228854" cy="394361"/>
          </a:xfrm>
          <a:prstGeom prst="rect">
            <a:avLst/>
          </a:prstGeom>
          <a:noFill/>
          <a:ln w="25400" algn="ctr">
            <a:solidFill>
              <a:schemeClr val="tx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1" name="Rectangle 10">
            <a:extLst>
              <a:ext uri="{FF2B5EF4-FFF2-40B4-BE49-F238E27FC236}">
                <a16:creationId xmlns:a16="http://schemas.microsoft.com/office/drawing/2014/main" id="{55DFC61E-81D1-5301-556E-64ACC2E13D37}"/>
              </a:ext>
            </a:extLst>
          </p:cNvPr>
          <p:cNvSpPr/>
          <p:nvPr/>
        </p:nvSpPr>
        <p:spPr bwMode="gray">
          <a:xfrm>
            <a:off x="1870389" y="3329248"/>
            <a:ext cx="1228854" cy="473166"/>
          </a:xfrm>
          <a:prstGeom prst="rect">
            <a:avLst/>
          </a:prstGeom>
          <a:noFill/>
          <a:ln w="25400" algn="ctr">
            <a:solidFill>
              <a:schemeClr val="tx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2" name="Rectangle 11">
            <a:extLst>
              <a:ext uri="{FF2B5EF4-FFF2-40B4-BE49-F238E27FC236}">
                <a16:creationId xmlns:a16="http://schemas.microsoft.com/office/drawing/2014/main" id="{FEECC193-BECA-2F13-6CAB-F667094B9749}"/>
              </a:ext>
            </a:extLst>
          </p:cNvPr>
          <p:cNvSpPr/>
          <p:nvPr/>
        </p:nvSpPr>
        <p:spPr bwMode="gray">
          <a:xfrm>
            <a:off x="4310646" y="3706561"/>
            <a:ext cx="1258505" cy="406171"/>
          </a:xfrm>
          <a:prstGeom prst="rect">
            <a:avLst/>
          </a:prstGeom>
          <a:noFill/>
          <a:ln w="25400" algn="ctr">
            <a:solidFill>
              <a:schemeClr val="tx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3" name="Rectangle 12">
            <a:extLst>
              <a:ext uri="{FF2B5EF4-FFF2-40B4-BE49-F238E27FC236}">
                <a16:creationId xmlns:a16="http://schemas.microsoft.com/office/drawing/2014/main" id="{CB742287-4950-5177-35A9-96EF0EF0D2DA}"/>
              </a:ext>
            </a:extLst>
          </p:cNvPr>
          <p:cNvSpPr/>
          <p:nvPr/>
        </p:nvSpPr>
        <p:spPr bwMode="gray">
          <a:xfrm>
            <a:off x="9123590" y="3822415"/>
            <a:ext cx="1228854" cy="1171618"/>
          </a:xfrm>
          <a:prstGeom prst="rect">
            <a:avLst/>
          </a:prstGeom>
          <a:noFill/>
          <a:ln w="25400" algn="ctr">
            <a:solidFill>
              <a:schemeClr val="tx2"/>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DE" sz="1800" b="0" i="0" u="none" strike="noStrike" kern="0" cap="none" spc="0" normalizeH="0" baseline="0" noProof="0" dirty="0">
              <a:ln>
                <a:noFill/>
              </a:ln>
              <a:effectLst/>
              <a:uLnTx/>
              <a:uFillTx/>
              <a:latin typeface="+mn-lt"/>
              <a:ea typeface="72 Brand" pitchFamily="34" charset="-128"/>
              <a:cs typeface="72 Brand" pitchFamily="34" charset="-128"/>
            </a:endParaRPr>
          </a:p>
        </p:txBody>
      </p:sp>
    </p:spTree>
    <p:extLst>
      <p:ext uri="{BB962C8B-B14F-4D97-AF65-F5344CB8AC3E}">
        <p14:creationId xmlns:p14="http://schemas.microsoft.com/office/powerpoint/2010/main" val="2727636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1471D9-C8DA-9B07-CC1E-00839F9A0E90}"/>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36D784D9-604C-66FA-5FCC-6129A4FA325B}"/>
              </a:ext>
            </a:extLst>
          </p:cNvPr>
          <p:cNvSpPr/>
          <p:nvPr/>
        </p:nvSpPr>
        <p:spPr bwMode="auto">
          <a:xfrm>
            <a:off x="3974848" y="5356"/>
            <a:ext cx="8220327" cy="6852644"/>
          </a:xfrm>
          <a:prstGeom prst="rect">
            <a:avLst/>
          </a:prstGeom>
          <a:gradFill flip="none" rotWithShape="1">
            <a:gsLst>
              <a:gs pos="0">
                <a:srgbClr val="D1EFFF"/>
              </a:gs>
              <a:gs pos="100000">
                <a:srgbClr val="89D1FF"/>
              </a:gs>
            </a:gsLst>
            <a:lin ang="2700000" scaled="1"/>
            <a:tileRect/>
          </a:gradFill>
          <a:ln w="25400" algn="ctr">
            <a:noFill/>
            <a:miter lim="800000"/>
            <a:headEnd/>
            <a:tailEnd/>
          </a:ln>
        </p:spPr>
        <p:txBody>
          <a:bodyPr lIns="182832" tIns="146266" rIns="182832" bIns="146266" rtlCol="0" anchor="t"/>
          <a:lstStyle/>
          <a:p>
            <a:pPr defTabSz="914126" fontAlgn="base">
              <a:spcBef>
                <a:spcPct val="50000"/>
              </a:spcBef>
              <a:spcAft>
                <a:spcPct val="0"/>
              </a:spcAft>
              <a:buClr>
                <a:srgbClr val="F0AB00"/>
              </a:buClr>
              <a:buSzPct val="80000"/>
            </a:pPr>
            <a:endParaRPr lang="en-US" sz="1200" kern="0"/>
          </a:p>
        </p:txBody>
      </p:sp>
      <p:sp>
        <p:nvSpPr>
          <p:cNvPr id="9" name="TextBox 8">
            <a:extLst>
              <a:ext uri="{FF2B5EF4-FFF2-40B4-BE49-F238E27FC236}">
                <a16:creationId xmlns:a16="http://schemas.microsoft.com/office/drawing/2014/main" id="{31145B74-6F1B-4C2C-E1D2-8BC6AF8F147C}"/>
              </a:ext>
            </a:extLst>
          </p:cNvPr>
          <p:cNvSpPr txBox="1"/>
          <p:nvPr/>
        </p:nvSpPr>
        <p:spPr>
          <a:xfrm>
            <a:off x="569471" y="318251"/>
            <a:ext cx="3281688" cy="1107996"/>
          </a:xfrm>
          <a:prstGeom prst="rect">
            <a:avLst/>
          </a:prstGeom>
          <a:noFill/>
        </p:spPr>
        <p:txBody>
          <a:bodyPr wrap="square" lIns="0" tIns="0" rIns="0" bIns="0" rtlCol="0">
            <a:spAutoFit/>
          </a:bodyPr>
          <a:lstStyle/>
          <a:p>
            <a:pPr defTabSz="1087362">
              <a:defRPr/>
            </a:pPr>
            <a:r>
              <a:rPr lang="de-DE" sz="2400" noProof="1">
                <a:solidFill>
                  <a:srgbClr val="0070F2"/>
                </a:solidFill>
                <a:latin typeface="72 Brand Medium" panose="020B0504030603020204" pitchFamily="34" charset="0"/>
                <a:ea typeface="+mj-ea"/>
                <a:cs typeface="+mj-cs"/>
              </a:rPr>
              <a:t>SAP SuccessFactors Employee Central Payroll</a:t>
            </a:r>
            <a:endParaRPr lang="en-US" sz="2400" dirty="0">
              <a:solidFill>
                <a:srgbClr val="0070F2"/>
              </a:solidFill>
              <a:latin typeface="72 Brand Medium" panose="020B0504030603020204" pitchFamily="34" charset="0"/>
              <a:ea typeface="+mj-ea"/>
              <a:cs typeface="+mj-cs"/>
            </a:endParaRPr>
          </a:p>
        </p:txBody>
      </p:sp>
      <p:sp>
        <p:nvSpPr>
          <p:cNvPr id="11" name="TextBox 10">
            <a:extLst>
              <a:ext uri="{FF2B5EF4-FFF2-40B4-BE49-F238E27FC236}">
                <a16:creationId xmlns:a16="http://schemas.microsoft.com/office/drawing/2014/main" id="{44740AB7-0F9D-1D98-37C8-65A33CCDD7E1}"/>
              </a:ext>
            </a:extLst>
          </p:cNvPr>
          <p:cNvSpPr txBox="1"/>
          <p:nvPr/>
        </p:nvSpPr>
        <p:spPr>
          <a:xfrm>
            <a:off x="569471" y="1584581"/>
            <a:ext cx="3057962" cy="860492"/>
          </a:xfrm>
          <a:prstGeom prst="rect">
            <a:avLst/>
          </a:prstGeom>
          <a:noFill/>
        </p:spPr>
        <p:txBody>
          <a:bodyPr wrap="square" lIns="0" tIns="0" rIns="0" bIns="0" rtlCol="0">
            <a:spAutoFit/>
          </a:bodyPr>
          <a:lstStyle/>
          <a:p>
            <a:pPr defTabSz="1087362">
              <a:defRPr/>
            </a:pPr>
            <a:r>
              <a:rPr lang="de-DE" sz="1398" dirty="0">
                <a:gradFill>
                  <a:gsLst>
                    <a:gs pos="0">
                      <a:srgbClr val="000000"/>
                    </a:gs>
                    <a:gs pos="100000">
                      <a:srgbClr val="000000"/>
                    </a:gs>
                  </a:gsLst>
                  <a:lin ang="5400000" scaled="1"/>
                </a:gradFill>
                <a:latin typeface="Arial" panose="020B0604020202020204" pitchFamily="34" charset="0"/>
                <a:ea typeface="Calibri" panose="020F0502020204030204" pitchFamily="34" charset="0"/>
                <a:cs typeface="Arial" panose="020B0604020202020204" pitchFamily="34" charset="0"/>
              </a:rPr>
              <a:t>Vereinfachte Personalabrechnungs-prozesse mit verbesserter Bedienung, die die Personalabrechnung in großem Stil vorantreiben</a:t>
            </a:r>
            <a:endParaRPr lang="en-US" sz="1398" dirty="0">
              <a:gradFill>
                <a:gsLst>
                  <a:gs pos="0">
                    <a:srgbClr val="000000"/>
                  </a:gs>
                  <a:gs pos="100000">
                    <a:srgbClr val="000000"/>
                  </a:gs>
                </a:gsLst>
                <a:lin ang="5400000" scaled="1"/>
              </a:gradFill>
              <a:latin typeface="Arial" panose="020B0604020202020204" pitchFamily="34" charset="0"/>
              <a:ea typeface="Calibri" panose="020F050202020403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865ABF9F-03A8-3EA9-E969-5206480AB94D}"/>
              </a:ext>
            </a:extLst>
          </p:cNvPr>
          <p:cNvCxnSpPr>
            <a:cxnSpLocks/>
          </p:cNvCxnSpPr>
          <p:nvPr/>
        </p:nvCxnSpPr>
        <p:spPr>
          <a:xfrm>
            <a:off x="569471" y="3925328"/>
            <a:ext cx="3057960" cy="0"/>
          </a:xfrm>
          <a:prstGeom prst="line">
            <a:avLst/>
          </a:prstGeom>
          <a:ln w="12700">
            <a:gradFill flip="none" rotWithShape="1">
              <a:gsLst>
                <a:gs pos="0">
                  <a:schemeClr val="accent1">
                    <a:lumMod val="5000"/>
                    <a:lumOff val="95000"/>
                  </a:schemeClr>
                </a:gs>
                <a:gs pos="89000">
                  <a:schemeClr val="bg2"/>
                </a:gs>
                <a:gs pos="12000">
                  <a:schemeClr val="bg2"/>
                </a:gs>
                <a:gs pos="100000">
                  <a:schemeClr val="bg1"/>
                </a:gs>
              </a:gsLst>
              <a:lin ang="0" scaled="1"/>
              <a:tileRect/>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6F1558A-1E08-0DB0-3E6F-96CC4E9E3CFB}"/>
              </a:ext>
            </a:extLst>
          </p:cNvPr>
          <p:cNvSpPr txBox="1"/>
          <p:nvPr/>
        </p:nvSpPr>
        <p:spPr>
          <a:xfrm>
            <a:off x="650814" y="3992837"/>
            <a:ext cx="2745048" cy="246093"/>
          </a:xfrm>
          <a:prstGeom prst="rect">
            <a:avLst/>
          </a:prstGeom>
          <a:noFill/>
          <a:ln>
            <a:noFill/>
          </a:ln>
        </p:spPr>
        <p:txBody>
          <a:bodyPr wrap="square" lIns="0" tIns="0" rIns="0" bIns="0" numCol="1">
            <a:spAutoFit/>
          </a:bodyPr>
          <a:lstStyle/>
          <a:p>
            <a:pPr defTabSz="1085731">
              <a:spcBef>
                <a:spcPts val="200"/>
              </a:spcBef>
              <a:spcAft>
                <a:spcPts val="600"/>
              </a:spcAft>
              <a:buClr>
                <a:srgbClr val="89D1FF"/>
              </a:buClr>
              <a:buSzPct val="80000"/>
              <a:defRPr/>
            </a:pPr>
            <a:r>
              <a:rPr lang="en-US" sz="1599" kern="0" dirty="0">
                <a:solidFill>
                  <a:srgbClr val="1B90FF"/>
                </a:solidFill>
                <a:latin typeface="Arial" panose="020B0604020202020204" pitchFamily="34" charset="0"/>
                <a:ea typeface="Arial Unicode MS"/>
                <a:cs typeface="Arial" panose="020B0604020202020204" pitchFamily="34" charset="0"/>
              </a:rPr>
              <a:t>        </a:t>
            </a:r>
            <a:r>
              <a:rPr lang="en-US" sz="1599" kern="0" dirty="0" err="1">
                <a:gradFill>
                  <a:gsLst>
                    <a:gs pos="0">
                      <a:schemeClr val="accent1"/>
                    </a:gs>
                    <a:gs pos="100000">
                      <a:schemeClr val="accent1"/>
                    </a:gs>
                  </a:gsLst>
                  <a:lin ang="2700000" scaled="1"/>
                </a:gradFill>
                <a:latin typeface="Arial" panose="020B0604020202020204" pitchFamily="34" charset="0"/>
                <a:ea typeface="Arial Unicode MS"/>
                <a:cs typeface="Arial" panose="020B0604020202020204" pitchFamily="34" charset="0"/>
              </a:rPr>
              <a:t>Haupterneuerungen</a:t>
            </a:r>
            <a:endParaRPr lang="en-US" sz="1599" kern="0" dirty="0">
              <a:gradFill>
                <a:gsLst>
                  <a:gs pos="0">
                    <a:schemeClr val="accent1"/>
                  </a:gs>
                  <a:gs pos="100000">
                    <a:schemeClr val="accent1"/>
                  </a:gs>
                </a:gsLst>
                <a:lin ang="2700000" scaled="1"/>
              </a:gradFill>
              <a:latin typeface="Arial" panose="020B0604020202020204" pitchFamily="34" charset="0"/>
              <a:ea typeface="Arial Unicode MS"/>
              <a:cs typeface="Arial" panose="020B0604020202020204" pitchFamily="34" charset="0"/>
            </a:endParaRPr>
          </a:p>
        </p:txBody>
      </p:sp>
      <p:sp>
        <p:nvSpPr>
          <p:cNvPr id="20" name="Rectangle: Rounded Corners 26">
            <a:extLst>
              <a:ext uri="{FF2B5EF4-FFF2-40B4-BE49-F238E27FC236}">
                <a16:creationId xmlns:a16="http://schemas.microsoft.com/office/drawing/2014/main" id="{953B4DE6-B6F8-785B-50DF-7336D47DFEB6}"/>
              </a:ext>
            </a:extLst>
          </p:cNvPr>
          <p:cNvSpPr/>
          <p:nvPr/>
        </p:nvSpPr>
        <p:spPr bwMode="auto">
          <a:xfrm>
            <a:off x="552073" y="2720372"/>
            <a:ext cx="1500204" cy="289780"/>
          </a:xfrm>
          <a:prstGeom prst="roundRect">
            <a:avLst>
              <a:gd name="adj" fmla="val 18295"/>
            </a:avLst>
          </a:prstGeom>
          <a:solidFill>
            <a:srgbClr val="E2D8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737" tIns="146190" rIns="182737" bIns="146190" numCol="1" spcCol="0" rtlCol="0" fromWordArt="0" anchor="ctr" anchorCtr="0" forceAA="0" compatLnSpc="1">
            <a:prstTxWarp prst="textNoShape">
              <a:avLst/>
            </a:prstTxWarp>
            <a:noAutofit/>
          </a:bodyPr>
          <a:lstStyle/>
          <a:p>
            <a:pPr algn="ctr" defTabSz="931726" fontAlgn="base">
              <a:spcBef>
                <a:spcPct val="0"/>
              </a:spcBef>
              <a:spcAft>
                <a:spcPct val="0"/>
              </a:spcAft>
            </a:pPr>
            <a:r>
              <a:rPr lang="en-US" sz="1199" dirty="0" err="1">
                <a:gradFill>
                  <a:gsLst>
                    <a:gs pos="0">
                      <a:srgbClr val="5D36FF"/>
                    </a:gs>
                    <a:gs pos="100000">
                      <a:srgbClr val="5D36FF"/>
                    </a:gs>
                  </a:gsLst>
                  <a:lin ang="5400000" scaled="1"/>
                </a:gradFill>
                <a:latin typeface="Arial" panose="020B0604020202020204" pitchFamily="34" charset="0"/>
                <a:ea typeface="Segoe UI" pitchFamily="34" charset="0"/>
                <a:cs typeface="Arial" panose="020B0604020202020204" pitchFamily="34" charset="0"/>
              </a:rPr>
              <a:t>Kommt</a:t>
            </a:r>
            <a:r>
              <a:rPr lang="en-US" sz="1199" dirty="0">
                <a:gradFill>
                  <a:gsLst>
                    <a:gs pos="0">
                      <a:srgbClr val="5D36FF"/>
                    </a:gs>
                    <a:gs pos="100000">
                      <a:srgbClr val="5D36FF"/>
                    </a:gs>
                  </a:gsLst>
                  <a:lin ang="5400000" scaled="1"/>
                </a:gradFill>
                <a:latin typeface="Arial" panose="020B0604020202020204" pitchFamily="34" charset="0"/>
                <a:ea typeface="Segoe UI" pitchFamily="34" charset="0"/>
                <a:cs typeface="Arial" panose="020B0604020202020204" pitchFamily="34" charset="0"/>
              </a:rPr>
              <a:t> in 2025</a:t>
            </a:r>
          </a:p>
        </p:txBody>
      </p:sp>
      <p:sp>
        <p:nvSpPr>
          <p:cNvPr id="21" name="TextBox 20">
            <a:extLst>
              <a:ext uri="{FF2B5EF4-FFF2-40B4-BE49-F238E27FC236}">
                <a16:creationId xmlns:a16="http://schemas.microsoft.com/office/drawing/2014/main" id="{58F527C6-18EA-8269-5BA1-BA5E7E18D57F}"/>
              </a:ext>
            </a:extLst>
          </p:cNvPr>
          <p:cNvSpPr txBox="1"/>
          <p:nvPr/>
        </p:nvSpPr>
        <p:spPr>
          <a:xfrm>
            <a:off x="494357" y="3048332"/>
            <a:ext cx="3057962" cy="748603"/>
          </a:xfrm>
          <a:prstGeom prst="rect">
            <a:avLst/>
          </a:prstGeom>
          <a:noFill/>
        </p:spPr>
        <p:txBody>
          <a:bodyPr wrap="square">
            <a:spAutoFit/>
          </a:bodyPr>
          <a:lstStyle/>
          <a:p>
            <a:pPr marL="174486" indent="-174486" defTabSz="1085731">
              <a:spcBef>
                <a:spcPts val="200"/>
              </a:spcBef>
              <a:spcAft>
                <a:spcPts val="600"/>
              </a:spcAft>
              <a:buClr>
                <a:srgbClr val="89D1FF"/>
              </a:buClr>
              <a:buSzPct val="80000"/>
              <a:buFont typeface="Arial" panose="020B0604020202020204" pitchFamily="34" charset="0"/>
              <a:buChar char="•"/>
              <a:defRPr/>
            </a:pPr>
            <a:r>
              <a:rPr lang="de-DE" sz="1200" kern="0" noProof="1">
                <a:solidFill>
                  <a:srgbClr val="000000"/>
                </a:solidFill>
                <a:latin typeface="Arial" panose="020B0604020202020204" pitchFamily="34" charset="0"/>
                <a:ea typeface="Arial Unicode MS"/>
                <a:cs typeface="Arial" panose="020B0604020202020204" pitchFamily="34" charset="0"/>
              </a:rPr>
              <a:t>„Erklärung meines Gehaltsnachweises“ mit Joule </a:t>
            </a:r>
          </a:p>
          <a:p>
            <a:pPr marL="174486" indent="-174486" defTabSz="1085731">
              <a:spcBef>
                <a:spcPts val="200"/>
              </a:spcBef>
              <a:spcAft>
                <a:spcPts val="600"/>
              </a:spcAft>
              <a:buClr>
                <a:srgbClr val="89D1FF"/>
              </a:buClr>
              <a:buSzPct val="80000"/>
              <a:buFont typeface="Arial" panose="020B0604020202020204" pitchFamily="34" charset="0"/>
              <a:buChar char="•"/>
              <a:defRPr/>
            </a:pPr>
            <a:r>
              <a:rPr lang="en-US" sz="1198" kern="0" dirty="0" err="1">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rPr>
              <a:t>Überarbeiteter</a:t>
            </a:r>
            <a:r>
              <a:rPr lang="en-US" sz="1198" kern="0" dirty="0">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rPr>
              <a:t> Payroll Control Center</a:t>
            </a:r>
          </a:p>
        </p:txBody>
      </p:sp>
      <p:pic>
        <p:nvPicPr>
          <p:cNvPr id="22" name="10-27-NEW FINAL v9 SC explain my pay">
            <a:hlinkClick r:id="" action="ppaction://media"/>
            <a:extLst>
              <a:ext uri="{FF2B5EF4-FFF2-40B4-BE49-F238E27FC236}">
                <a16:creationId xmlns:a16="http://schemas.microsoft.com/office/drawing/2014/main" id="{AAF561BF-F44F-38A8-F22C-1C255A810A13}"/>
              </a:ext>
            </a:extLst>
          </p:cNvPr>
          <p:cNvPicPr>
            <a:picLocks noChangeAspect="1"/>
          </p:cNvPicPr>
          <p:nvPr>
            <a:videoFile r:link="rId2"/>
            <p:extLst>
              <p:ext uri="{DAA4B4D4-6D71-4841-9C94-3DE7FCFB9230}">
                <p14:media xmlns:p14="http://schemas.microsoft.com/office/powerpoint/2010/main" r:embed="rId1"/>
              </p:ext>
            </p:extLst>
          </p:nvPr>
        </p:nvPicPr>
        <p:blipFill>
          <a:blip r:embed="rId5"/>
          <a:srcRect t="1231"/>
          <a:stretch/>
        </p:blipFill>
        <p:spPr>
          <a:xfrm>
            <a:off x="4268234" y="1303535"/>
            <a:ext cx="7624034" cy="4235742"/>
          </a:xfrm>
          <a:prstGeom prst="rect">
            <a:avLst/>
          </a:prstGeom>
        </p:spPr>
      </p:pic>
      <p:sp>
        <p:nvSpPr>
          <p:cNvPr id="23" name="TextBox 22">
            <a:extLst>
              <a:ext uri="{FF2B5EF4-FFF2-40B4-BE49-F238E27FC236}">
                <a16:creationId xmlns:a16="http://schemas.microsoft.com/office/drawing/2014/main" id="{9E9074B4-6B39-8914-D029-A0E4F3A53E0C}"/>
              </a:ext>
            </a:extLst>
          </p:cNvPr>
          <p:cNvSpPr txBox="1"/>
          <p:nvPr/>
        </p:nvSpPr>
        <p:spPr>
          <a:xfrm>
            <a:off x="9758671" y="5662248"/>
            <a:ext cx="2133597" cy="184666"/>
          </a:xfrm>
          <a:prstGeom prst="rect">
            <a:avLst/>
          </a:prstGeom>
          <a:noFill/>
        </p:spPr>
        <p:txBody>
          <a:bodyPr wrap="none" lIns="0" tIns="0" rIns="0" bIns="0" rtlCol="0">
            <a:spAutoFit/>
          </a:bodyPr>
          <a:lstStyle/>
          <a:p>
            <a:pPr fontAlgn="base">
              <a:spcBef>
                <a:spcPct val="50000"/>
              </a:spcBef>
              <a:spcAft>
                <a:spcPct val="0"/>
              </a:spcAft>
              <a:buClr>
                <a:srgbClr val="000000"/>
              </a:buClr>
              <a:buSzPct val="100000"/>
            </a:pPr>
            <a:r>
              <a:rPr lang="en-US" sz="1200" kern="0">
                <a:solidFill>
                  <a:schemeClr val="accent6">
                    <a:lumMod val="50000"/>
                  </a:schemeClr>
                </a:solidFill>
                <a:latin typeface="72 Brand Medium"/>
                <a:ea typeface="Arial Unicode MS" pitchFamily="34" charset="-128"/>
                <a:cs typeface="Arial Unicode MS" pitchFamily="34" charset="-128"/>
              </a:rPr>
              <a:t>Explain my pay slip with Joule</a:t>
            </a:r>
          </a:p>
        </p:txBody>
      </p:sp>
      <p:pic>
        <p:nvPicPr>
          <p:cNvPr id="3" name="Graphic 2">
            <a:extLst>
              <a:ext uri="{FF2B5EF4-FFF2-40B4-BE49-F238E27FC236}">
                <a16:creationId xmlns:a16="http://schemas.microsoft.com/office/drawing/2014/main" id="{9037788A-66AE-9108-8491-EE854EC53D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9473" y="4010025"/>
            <a:ext cx="222250" cy="222250"/>
          </a:xfrm>
          <a:prstGeom prst="rect">
            <a:avLst/>
          </a:prstGeom>
        </p:spPr>
      </p:pic>
      <p:sp>
        <p:nvSpPr>
          <p:cNvPr id="4" name="TextBox 3">
            <a:extLst>
              <a:ext uri="{FF2B5EF4-FFF2-40B4-BE49-F238E27FC236}">
                <a16:creationId xmlns:a16="http://schemas.microsoft.com/office/drawing/2014/main" id="{4D23560C-8E24-2B9B-8B85-6639AE4BE984}"/>
              </a:ext>
            </a:extLst>
          </p:cNvPr>
          <p:cNvSpPr txBox="1"/>
          <p:nvPr/>
        </p:nvSpPr>
        <p:spPr>
          <a:xfrm>
            <a:off x="650813" y="4334411"/>
            <a:ext cx="2976617" cy="1864293"/>
          </a:xfrm>
          <a:prstGeom prst="rect">
            <a:avLst/>
          </a:prstGeom>
          <a:noFill/>
          <a:ln>
            <a:noFill/>
          </a:ln>
        </p:spPr>
        <p:txBody>
          <a:bodyPr wrap="square" lIns="0" tIns="0" rIns="0" bIns="0" numCol="1">
            <a:spAutoFit/>
          </a:bodyPr>
          <a:lstStyle/>
          <a:p>
            <a:pPr marL="174486" indent="-174486" defTabSz="1085731">
              <a:spcBef>
                <a:spcPts val="200"/>
              </a:spcBef>
              <a:spcAft>
                <a:spcPts val="600"/>
              </a:spcAft>
              <a:buClr>
                <a:srgbClr val="89D1FF"/>
              </a:buClr>
              <a:buSzPct val="80000"/>
              <a:buFont typeface="Arial" panose="020B0604020202020204" pitchFamily="34" charset="0"/>
              <a:buChar char="•"/>
              <a:defRPr/>
            </a:pPr>
            <a:r>
              <a:rPr lang="de-DE" sz="1198" kern="0" dirty="0">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rPr>
              <a:t>Vereinfachungen für Mitarbeiter mit Zeitbuchungsfunktionen, die über mehrere Kanäle verfügbar sind</a:t>
            </a:r>
          </a:p>
          <a:p>
            <a:pPr marL="174486" indent="-174486" defTabSz="1085731">
              <a:spcBef>
                <a:spcPts val="200"/>
              </a:spcBef>
              <a:spcAft>
                <a:spcPts val="600"/>
              </a:spcAft>
              <a:buClr>
                <a:srgbClr val="89D1FF"/>
              </a:buClr>
              <a:buSzPct val="80000"/>
              <a:buFont typeface="Arial" panose="020B0604020202020204" pitchFamily="34" charset="0"/>
              <a:buChar char="•"/>
              <a:defRPr/>
            </a:pPr>
            <a:r>
              <a:rPr lang="de-DE" sz="1198" kern="0" dirty="0">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rPr>
              <a:t>Verbesserte Visualisierung und optimierte Massenaktionen vereinfachen die Verwaltung</a:t>
            </a:r>
          </a:p>
          <a:p>
            <a:pPr marL="174486" indent="-174486" defTabSz="1085731">
              <a:spcBef>
                <a:spcPts val="200"/>
              </a:spcBef>
              <a:spcAft>
                <a:spcPts val="600"/>
              </a:spcAft>
              <a:buClr>
                <a:srgbClr val="89D1FF"/>
              </a:buClr>
              <a:buSzPct val="80000"/>
              <a:buFont typeface="Arial" panose="020B0604020202020204" pitchFamily="34" charset="0"/>
              <a:buChar char="•"/>
              <a:defRPr/>
            </a:pPr>
            <a:r>
              <a:rPr lang="de-DE" sz="1198" kern="0" dirty="0">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rPr>
              <a:t>Die Integration mit dem Arbeitszeitblatt von SAP S/4HANA (CATS) optimiert die systemübergreifende Arbeit.</a:t>
            </a:r>
            <a:endParaRPr lang="en-US" sz="1198" kern="0" dirty="0">
              <a:gradFill>
                <a:gsLst>
                  <a:gs pos="0">
                    <a:srgbClr val="000000"/>
                  </a:gs>
                  <a:gs pos="100000">
                    <a:srgbClr val="000000"/>
                  </a:gs>
                </a:gsLst>
                <a:lin ang="5400000" scaled="1"/>
              </a:gradFill>
              <a:latin typeface="Arial" panose="020B0604020202020204" pitchFamily="34" charset="0"/>
              <a:ea typeface="Arial Unicode MS"/>
              <a:cs typeface="Arial" panose="020B0604020202020204" pitchFamily="34" charset="0"/>
            </a:endParaRPr>
          </a:p>
        </p:txBody>
      </p:sp>
    </p:spTree>
    <p:extLst>
      <p:ext uri="{BB962C8B-B14F-4D97-AF65-F5344CB8AC3E}">
        <p14:creationId xmlns:p14="http://schemas.microsoft.com/office/powerpoint/2010/main" val="4133583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1+#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400"/>
                                        <p:tgtEl>
                                          <p:spTgt spid="9"/>
                                        </p:tgtEl>
                                      </p:cBhvr>
                                    </p:animEffect>
                                  </p:childTnLst>
                                </p:cTn>
                              </p:par>
                              <p:par>
                                <p:cTn id="12" presetID="42" presetClass="path" presetSubtype="0" decel="100000" fill="hold" grpId="1" nodeType="withEffect">
                                  <p:stCondLst>
                                    <p:cond delay="0"/>
                                  </p:stCondLst>
                                  <p:childTnLst>
                                    <p:animMotion origin="layout" path="M -9.73705E-7 -2.96296E-6 L -9.73705E-7 0.01736 " pathEditMode="relative" rAng="0" ptsTypes="AA">
                                      <p:cBhvr>
                                        <p:cTn id="13" dur="400" spd="-100000" fill="hold"/>
                                        <p:tgtEl>
                                          <p:spTgt spid="9"/>
                                        </p:tgtEl>
                                        <p:attrNameLst>
                                          <p:attrName>ppt_x</p:attrName>
                                          <p:attrName>ppt_y</p:attrName>
                                        </p:attrNameLst>
                                      </p:cBhvr>
                                      <p:rCtr x="0" y="856"/>
                                    </p:animMotion>
                                  </p:childTnLst>
                                </p:cTn>
                              </p:par>
                              <p:par>
                                <p:cTn id="14" presetID="10" presetClass="entr" presetSubtype="0" fill="hold" grpId="0" nodeType="withEffect">
                                  <p:stCondLst>
                                    <p:cond delay="1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400"/>
                                        <p:tgtEl>
                                          <p:spTgt spid="11"/>
                                        </p:tgtEl>
                                      </p:cBhvr>
                                    </p:animEffect>
                                  </p:childTnLst>
                                </p:cTn>
                              </p:par>
                              <p:par>
                                <p:cTn id="17" presetID="42" presetClass="path" presetSubtype="0" decel="100000" fill="hold" grpId="1" nodeType="withEffect">
                                  <p:stCondLst>
                                    <p:cond delay="100"/>
                                  </p:stCondLst>
                                  <p:childTnLst>
                                    <p:animMotion origin="layout" path="M -9.73705E-7 -2.96296E-6 L -9.73705E-7 0.01736 " pathEditMode="relative" rAng="0" ptsTypes="AA">
                                      <p:cBhvr>
                                        <p:cTn id="18" dur="400" spd="-100000" fill="hold"/>
                                        <p:tgtEl>
                                          <p:spTgt spid="11"/>
                                        </p:tgtEl>
                                        <p:attrNameLst>
                                          <p:attrName>ppt_x</p:attrName>
                                          <p:attrName>ppt_y</p:attrName>
                                        </p:attrNameLst>
                                      </p:cBhvr>
                                      <p:rCtr x="0" y="856"/>
                                    </p:animMotion>
                                  </p:childTnLst>
                                </p:cTn>
                              </p:par>
                              <p:par>
                                <p:cTn id="19" presetID="10" presetClass="entr" presetSubtype="0" fill="hold" grpId="0" nodeType="withEffect">
                                  <p:stCondLst>
                                    <p:cond delay="20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400"/>
                                        <p:tgtEl>
                                          <p:spTgt spid="20"/>
                                        </p:tgtEl>
                                      </p:cBhvr>
                                    </p:animEffect>
                                  </p:childTnLst>
                                </p:cTn>
                              </p:par>
                              <p:par>
                                <p:cTn id="22" presetID="42" presetClass="path" presetSubtype="0" decel="100000" fill="hold" grpId="1" nodeType="withEffect">
                                  <p:stCondLst>
                                    <p:cond delay="200"/>
                                  </p:stCondLst>
                                  <p:childTnLst>
                                    <p:animMotion origin="layout" path="M -9.73705E-7 -2.96296E-6 L -9.73705E-7 0.01736 " pathEditMode="relative" rAng="0" ptsTypes="AA">
                                      <p:cBhvr>
                                        <p:cTn id="23" dur="400" spd="-100000" fill="hold"/>
                                        <p:tgtEl>
                                          <p:spTgt spid="20"/>
                                        </p:tgtEl>
                                        <p:attrNameLst>
                                          <p:attrName>ppt_x</p:attrName>
                                          <p:attrName>ppt_y</p:attrName>
                                        </p:attrNameLst>
                                      </p:cBhvr>
                                      <p:rCtr x="0" y="856"/>
                                    </p:animMotion>
                                  </p:childTnLst>
                                </p:cTn>
                              </p:par>
                              <p:par>
                                <p:cTn id="24" presetID="10" presetClass="entr" presetSubtype="0" fill="hold" grpId="0" nodeType="withEffect">
                                  <p:stCondLst>
                                    <p:cond delay="20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400"/>
                                        <p:tgtEl>
                                          <p:spTgt spid="21"/>
                                        </p:tgtEl>
                                      </p:cBhvr>
                                    </p:animEffect>
                                  </p:childTnLst>
                                </p:cTn>
                              </p:par>
                              <p:par>
                                <p:cTn id="27" presetID="42" presetClass="path" presetSubtype="0" decel="100000" fill="hold" grpId="1" nodeType="withEffect">
                                  <p:stCondLst>
                                    <p:cond delay="200"/>
                                  </p:stCondLst>
                                  <p:childTnLst>
                                    <p:animMotion origin="layout" path="M -9.73705E-7 -2.96296E-6 L -9.73705E-7 0.01736 " pathEditMode="relative" rAng="0" ptsTypes="AA">
                                      <p:cBhvr>
                                        <p:cTn id="28" dur="400" spd="-100000" fill="hold"/>
                                        <p:tgtEl>
                                          <p:spTgt spid="21"/>
                                        </p:tgtEl>
                                        <p:attrNameLst>
                                          <p:attrName>ppt_x</p:attrName>
                                          <p:attrName>ppt_y</p:attrName>
                                        </p:attrNameLst>
                                      </p:cBhvr>
                                      <p:rCtr x="0" y="856"/>
                                    </p:animMotion>
                                  </p:childTnLst>
                                </p:cTn>
                              </p:par>
                              <p:par>
                                <p:cTn id="29" presetID="10" presetClass="entr" presetSubtype="0" fill="hold" nodeType="withEffect">
                                  <p:stCondLst>
                                    <p:cond delay="30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400"/>
                                        <p:tgtEl>
                                          <p:spTgt spid="15"/>
                                        </p:tgtEl>
                                      </p:cBhvr>
                                    </p:animEffect>
                                  </p:childTnLst>
                                </p:cTn>
                              </p:par>
                              <p:par>
                                <p:cTn id="32" presetID="42" presetClass="path" presetSubtype="0" decel="100000" fill="hold" nodeType="withEffect">
                                  <p:stCondLst>
                                    <p:cond delay="300"/>
                                  </p:stCondLst>
                                  <p:childTnLst>
                                    <p:animMotion origin="layout" path="M -9.73705E-7 -2.96296E-6 L -9.73705E-7 0.01736 " pathEditMode="relative" rAng="0" ptsTypes="AA">
                                      <p:cBhvr>
                                        <p:cTn id="33" dur="400" spd="-100000" fill="hold"/>
                                        <p:tgtEl>
                                          <p:spTgt spid="15"/>
                                        </p:tgtEl>
                                        <p:attrNameLst>
                                          <p:attrName>ppt_x</p:attrName>
                                          <p:attrName>ppt_y</p:attrName>
                                        </p:attrNameLst>
                                      </p:cBhvr>
                                      <p:rCtr x="0" y="856"/>
                                    </p:animMotion>
                                  </p:childTnLst>
                                </p:cTn>
                              </p:par>
                              <p:par>
                                <p:cTn id="34" presetID="10" presetClass="entr" presetSubtype="0" fill="hold" grpId="0" nodeType="withEffect">
                                  <p:stCondLst>
                                    <p:cond delay="30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400"/>
                                        <p:tgtEl>
                                          <p:spTgt spid="17"/>
                                        </p:tgtEl>
                                      </p:cBhvr>
                                    </p:animEffect>
                                  </p:childTnLst>
                                </p:cTn>
                              </p:par>
                              <p:par>
                                <p:cTn id="37" presetID="42" presetClass="path" presetSubtype="0" decel="100000" fill="hold" grpId="1" nodeType="withEffect">
                                  <p:stCondLst>
                                    <p:cond delay="300"/>
                                  </p:stCondLst>
                                  <p:childTnLst>
                                    <p:animMotion origin="layout" path="M -2.22859E-6 1.11022E-16 L -2.22859E-6 0.01736 " pathEditMode="relative" rAng="0" ptsTypes="AA">
                                      <p:cBhvr>
                                        <p:cTn id="38" dur="400" spd="-100000" fill="hold"/>
                                        <p:tgtEl>
                                          <p:spTgt spid="17"/>
                                        </p:tgtEl>
                                        <p:attrNameLst>
                                          <p:attrName>ppt_x</p:attrName>
                                          <p:attrName>ppt_y</p:attrName>
                                        </p:attrNameLst>
                                      </p:cBhvr>
                                      <p:rCtr x="0" y="856"/>
                                    </p:animMotion>
                                  </p:childTnLst>
                                </p:cTn>
                              </p:par>
                              <p:par>
                                <p:cTn id="39" presetID="10" presetClass="entr" presetSubtype="0" fill="hold" nodeType="withEffect">
                                  <p:stCondLst>
                                    <p:cond delay="30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400"/>
                                        <p:tgtEl>
                                          <p:spTgt spid="3"/>
                                        </p:tgtEl>
                                      </p:cBhvr>
                                    </p:animEffect>
                                  </p:childTnLst>
                                </p:cTn>
                              </p:par>
                              <p:par>
                                <p:cTn id="42" presetID="42" presetClass="path" presetSubtype="0" decel="100000" fill="hold" nodeType="withEffect">
                                  <p:stCondLst>
                                    <p:cond delay="300"/>
                                  </p:stCondLst>
                                  <p:childTnLst>
                                    <p:animMotion origin="layout" path="M -9.73705E-7 -2.96296E-6 L -9.73705E-7 0.01736 " pathEditMode="relative" rAng="0" ptsTypes="AA">
                                      <p:cBhvr>
                                        <p:cTn id="43" dur="400" spd="-100000" fill="hold"/>
                                        <p:tgtEl>
                                          <p:spTgt spid="3"/>
                                        </p:tgtEl>
                                        <p:attrNameLst>
                                          <p:attrName>ppt_x</p:attrName>
                                          <p:attrName>ppt_y</p:attrName>
                                        </p:attrNameLst>
                                      </p:cBhvr>
                                      <p:rCtr x="0" y="856"/>
                                    </p:animMotion>
                                  </p:childTnLst>
                                </p:cTn>
                              </p:par>
                              <p:par>
                                <p:cTn id="44" presetID="10" presetClass="entr" presetSubtype="0" fill="hold" grpId="0" nodeType="withEffect">
                                  <p:stCondLst>
                                    <p:cond delay="40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400"/>
                                        <p:tgtEl>
                                          <p:spTgt spid="4"/>
                                        </p:tgtEl>
                                      </p:cBhvr>
                                    </p:animEffect>
                                  </p:childTnLst>
                                </p:cTn>
                              </p:par>
                              <p:par>
                                <p:cTn id="47" presetID="42" presetClass="path" presetSubtype="0" decel="100000" fill="hold" grpId="1" nodeType="withEffect">
                                  <p:stCondLst>
                                    <p:cond delay="400"/>
                                  </p:stCondLst>
                                  <p:childTnLst>
                                    <p:animMotion origin="layout" path="M -2.22859E-6 1.85185E-6 L -2.22859E-6 0.01736 " pathEditMode="relative" rAng="0" ptsTypes="AA">
                                      <p:cBhvr>
                                        <p:cTn id="48" dur="400" spd="-100000" fill="hold"/>
                                        <p:tgtEl>
                                          <p:spTgt spid="4"/>
                                        </p:tgtEl>
                                        <p:attrNameLst>
                                          <p:attrName>ppt_x</p:attrName>
                                          <p:attrName>ppt_y</p:attrName>
                                        </p:attrNameLst>
                                      </p:cBhvr>
                                      <p:rCtr x="0" y="856"/>
                                    </p:animMotion>
                                  </p:childTnLst>
                                </p:cTn>
                              </p:par>
                              <p:par>
                                <p:cTn id="49" presetID="10" presetClass="entr" presetSubtype="0" fill="hold" nodeType="withEffect">
                                  <p:stCondLst>
                                    <p:cond delay="40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grpId="0" nodeType="withEffect">
                                  <p:stCondLst>
                                    <p:cond delay="40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400"/>
                                        <p:tgtEl>
                                          <p:spTgt spid="23"/>
                                        </p:tgtEl>
                                      </p:cBhvr>
                                    </p:animEffect>
                                  </p:childTnLst>
                                </p:cTn>
                              </p:par>
                              <p:par>
                                <p:cTn id="55" presetID="42" presetClass="path" presetSubtype="0" decel="100000" fill="hold" grpId="1" nodeType="withEffect">
                                  <p:stCondLst>
                                    <p:cond delay="400"/>
                                  </p:stCondLst>
                                  <p:childTnLst>
                                    <p:animMotion origin="layout" path="M -2.22859E-6 1.85185E-6 L -2.22859E-6 0.01736 " pathEditMode="relative" rAng="0" ptsTypes="AA">
                                      <p:cBhvr>
                                        <p:cTn id="56" dur="400" spd="-100000" fill="hold"/>
                                        <p:tgtEl>
                                          <p:spTgt spid="23"/>
                                        </p:tgtEl>
                                        <p:attrNameLst>
                                          <p:attrName>ppt_x</p:attrName>
                                          <p:attrName>ppt_y</p:attrName>
                                        </p:attrNameLst>
                                      </p:cBhvr>
                                      <p:rCtr x="0" y="856"/>
                                    </p:animMotion>
                                  </p:childTnLst>
                                </p:cTn>
                              </p:par>
                            </p:childTnLst>
                          </p:cTn>
                        </p:par>
                      </p:childTnLst>
                    </p:cTn>
                  </p:par>
                  <p:par>
                    <p:cTn id="57" fill="hold">
                      <p:stCondLst>
                        <p:cond delay="indefinite"/>
                      </p:stCondLst>
                      <p:childTnLst>
                        <p:par>
                          <p:cTn id="58" fill="hold">
                            <p:stCondLst>
                              <p:cond delay="0"/>
                            </p:stCondLst>
                            <p:childTnLst>
                              <p:par>
                                <p:cTn id="59" presetID="1" presetClass="mediacall" presetSubtype="0" fill="hold" nodeType="clickEffect">
                                  <p:stCondLst>
                                    <p:cond delay="0"/>
                                  </p:stCondLst>
                                  <p:childTnLst>
                                    <p:cmd type="call" cmd="playFrom(0.0)">
                                      <p:cBhvr>
                                        <p:cTn id="60" dur="51130" fill="hold"/>
                                        <p:tgtEl>
                                          <p:spTgt spid="2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61" fill="hold" display="0">
                  <p:stCondLst>
                    <p:cond delay="indefinite"/>
                  </p:stCondLst>
                </p:cTn>
                <p:tgtEl>
                  <p:spTgt spid="22"/>
                </p:tgtEl>
              </p:cMediaNode>
            </p:video>
          </p:childTnLst>
        </p:cTn>
      </p:par>
    </p:tnLst>
    <p:bldLst>
      <p:bldP spid="5" grpId="0" animBg="1"/>
      <p:bldP spid="9" grpId="0"/>
      <p:bldP spid="9" grpId="1"/>
      <p:bldP spid="11" grpId="0"/>
      <p:bldP spid="11" grpId="1"/>
      <p:bldP spid="17" grpId="0"/>
      <p:bldP spid="17" grpId="1"/>
      <p:bldP spid="20" grpId="0" animBg="1"/>
      <p:bldP spid="20" grpId="1" animBg="1"/>
      <p:bldP spid="21" grpId="0"/>
      <p:bldP spid="21" grpId="1"/>
      <p:bldP spid="23" grpId="0"/>
      <p:bldP spid="23" grpId="1"/>
      <p:bldP spid="4" grpId="0"/>
      <p:bldP spid="4"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062F5-E768-088E-6246-55B0A029A437}"/>
            </a:ext>
          </a:extLst>
        </p:cNvPr>
        <p:cNvGrpSpPr/>
        <p:nvPr/>
      </p:nvGrpSpPr>
      <p:grpSpPr>
        <a:xfrm>
          <a:off x="0" y="0"/>
          <a:ext cx="0" cy="0"/>
          <a:chOff x="0" y="0"/>
          <a:chExt cx="0" cy="0"/>
        </a:xfrm>
      </p:grpSpPr>
      <p:pic>
        <p:nvPicPr>
          <p:cNvPr id="9" name="Picture 8" descr="A screenshot of a computer&#10;&#10;Description automatically generated">
            <a:extLst>
              <a:ext uri="{FF2B5EF4-FFF2-40B4-BE49-F238E27FC236}">
                <a16:creationId xmlns:a16="http://schemas.microsoft.com/office/drawing/2014/main" id="{90DD79BE-E259-72B5-5740-10F01BB0F14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487" y="2081983"/>
            <a:ext cx="6858000" cy="3857625"/>
          </a:xfrm>
          <a:prstGeom prst="roundRect">
            <a:avLst>
              <a:gd name="adj" fmla="val 2104"/>
            </a:avLst>
          </a:prstGeom>
          <a:noFill/>
          <a:ln w="6350">
            <a:solidFill>
              <a:schemeClr val="bg1">
                <a:lumMod val="75000"/>
              </a:schemeClr>
            </a:solidFill>
          </a:ln>
          <a:effectLst/>
        </p:spPr>
      </p:pic>
      <p:sp>
        <p:nvSpPr>
          <p:cNvPr id="2" name="TextBox 1">
            <a:extLst>
              <a:ext uri="{FF2B5EF4-FFF2-40B4-BE49-F238E27FC236}">
                <a16:creationId xmlns:a16="http://schemas.microsoft.com/office/drawing/2014/main" id="{BBEE1DE0-C7D5-319B-3E00-2BAD4E15671C}"/>
              </a:ext>
            </a:extLst>
          </p:cNvPr>
          <p:cNvSpPr txBox="1"/>
          <p:nvPr/>
        </p:nvSpPr>
        <p:spPr>
          <a:xfrm>
            <a:off x="496487" y="1354277"/>
            <a:ext cx="1367624" cy="430887"/>
          </a:xfrm>
          <a:prstGeom prst="rect">
            <a:avLst/>
          </a:prstGeom>
          <a:noFill/>
        </p:spPr>
        <p:txBody>
          <a:bodyPr wrap="square" lIns="0" tIns="0" rIns="0" bIns="0" rtlCol="0">
            <a:spAutoFit/>
          </a:bodyPr>
          <a:lstStyle>
            <a:defPPr>
              <a:defRPr lang="de-DE"/>
            </a:defPPr>
            <a:lvl1pPr defTabSz="914400">
              <a:defRPr sz="2400" b="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defRPr>
            </a:lvl1pPr>
          </a:lstStyle>
          <a:p>
            <a:r>
              <a:rPr lang="en-US" sz="2800">
                <a:solidFill>
                  <a:schemeClr val="accent6">
                    <a:lumMod val="50000"/>
                  </a:schemeClr>
                </a:solidFill>
              </a:rPr>
              <a:t>&gt;80%</a:t>
            </a:r>
          </a:p>
        </p:txBody>
      </p:sp>
      <p:sp>
        <p:nvSpPr>
          <p:cNvPr id="3" name="TextBox 2">
            <a:extLst>
              <a:ext uri="{FF2B5EF4-FFF2-40B4-BE49-F238E27FC236}">
                <a16:creationId xmlns:a16="http://schemas.microsoft.com/office/drawing/2014/main" id="{A8BDC941-FA3A-D129-4A73-CF56FA611C76}"/>
              </a:ext>
            </a:extLst>
          </p:cNvPr>
          <p:cNvSpPr txBox="1"/>
          <p:nvPr/>
        </p:nvSpPr>
        <p:spPr>
          <a:xfrm>
            <a:off x="1655065" y="1415831"/>
            <a:ext cx="1597605" cy="46166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Geringerer Zeitaufwand für die Vorbereitung auf Vergütungsgespräche** </a:t>
            </a:r>
            <a:endParaRPr lang="en-US" sz="1000" kern="0" baseline="30000" dirty="0">
              <a:latin typeface="72 Brand" panose="020B0504030603020204" pitchFamily="34" charset="0"/>
              <a:ea typeface="72 Brand" pitchFamily="34" charset="-128"/>
              <a:cs typeface="72 Brand" pitchFamily="34" charset="-128"/>
            </a:endParaRPr>
          </a:p>
        </p:txBody>
      </p:sp>
      <p:cxnSp>
        <p:nvCxnSpPr>
          <p:cNvPr id="4" name="Straight Connector 3">
            <a:extLst>
              <a:ext uri="{FF2B5EF4-FFF2-40B4-BE49-F238E27FC236}">
                <a16:creationId xmlns:a16="http://schemas.microsoft.com/office/drawing/2014/main" id="{DD075621-2A1D-7723-B012-A396D9594724}"/>
              </a:ext>
            </a:extLst>
          </p:cNvPr>
          <p:cNvCxnSpPr>
            <a:cxnSpLocks/>
          </p:cNvCxnSpPr>
          <p:nvPr/>
        </p:nvCxnSpPr>
        <p:spPr>
          <a:xfrm>
            <a:off x="3379308" y="1160526"/>
            <a:ext cx="0" cy="735496"/>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pic>
        <p:nvPicPr>
          <p:cNvPr id="16" name="Graphic 15" descr="Comment Heart with solid fill">
            <a:extLst>
              <a:ext uri="{FF2B5EF4-FFF2-40B4-BE49-F238E27FC236}">
                <a16:creationId xmlns:a16="http://schemas.microsoft.com/office/drawing/2014/main" id="{25348A3A-1CC4-DFE2-9860-CD3FEE587E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94248" y="1299882"/>
            <a:ext cx="518754" cy="518754"/>
          </a:xfrm>
          <a:prstGeom prst="rect">
            <a:avLst/>
          </a:prstGeom>
        </p:spPr>
      </p:pic>
      <p:sp>
        <p:nvSpPr>
          <p:cNvPr id="19" name="TextBox 18">
            <a:extLst>
              <a:ext uri="{FF2B5EF4-FFF2-40B4-BE49-F238E27FC236}">
                <a16:creationId xmlns:a16="http://schemas.microsoft.com/office/drawing/2014/main" id="{548E79C7-1F88-4901-5080-B0E454D66CD0}"/>
              </a:ext>
            </a:extLst>
          </p:cNvPr>
          <p:cNvSpPr txBox="1"/>
          <p:nvPr/>
        </p:nvSpPr>
        <p:spPr>
          <a:xfrm>
            <a:off x="4339634" y="1386782"/>
            <a:ext cx="2960325" cy="46166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Höhere Objektivität und Transparenz, die zu einer besseren Kommunikation zwischen Führungskraft und Mitarbeiter führt</a:t>
            </a:r>
            <a:endParaRPr lang="en-US" sz="1000" kern="0" dirty="0">
              <a:latin typeface="72 Brand" panose="020B0504030603020204" pitchFamily="34" charset="0"/>
              <a:ea typeface="72 Brand" pitchFamily="34" charset="-128"/>
              <a:cs typeface="72 Brand" pitchFamily="34" charset="-128"/>
            </a:endParaRPr>
          </a:p>
        </p:txBody>
      </p:sp>
      <p:sp>
        <p:nvSpPr>
          <p:cNvPr id="10" name="Rectangle 9">
            <a:extLst>
              <a:ext uri="{FF2B5EF4-FFF2-40B4-BE49-F238E27FC236}">
                <a16:creationId xmlns:a16="http://schemas.microsoft.com/office/drawing/2014/main" id="{FB023345-1023-C435-ACFE-9563857A14E1}"/>
              </a:ext>
            </a:extLst>
          </p:cNvPr>
          <p:cNvSpPr/>
          <p:nvPr/>
        </p:nvSpPr>
        <p:spPr bwMode="gray">
          <a:xfrm>
            <a:off x="8186238" y="4775132"/>
            <a:ext cx="3510276" cy="1187972"/>
          </a:xfrm>
          <a:prstGeom prst="rect">
            <a:avLst/>
          </a:prstGeom>
          <a:solidFill>
            <a:schemeClr val="accent6">
              <a:lumMod val="20000"/>
              <a:lumOff val="8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E9ECEE"/>
              </a:solidFill>
              <a:latin typeface="Aptos" panose="02110004020202020204"/>
            </a:endParaRPr>
          </a:p>
        </p:txBody>
      </p:sp>
      <p:sp>
        <p:nvSpPr>
          <p:cNvPr id="12" name="TextBox 11">
            <a:extLst>
              <a:ext uri="{FF2B5EF4-FFF2-40B4-BE49-F238E27FC236}">
                <a16:creationId xmlns:a16="http://schemas.microsoft.com/office/drawing/2014/main" id="{4226F8CD-2AED-B9EB-72B1-6DA556AFBA51}"/>
              </a:ext>
            </a:extLst>
          </p:cNvPr>
          <p:cNvSpPr txBox="1"/>
          <p:nvPr/>
        </p:nvSpPr>
        <p:spPr>
          <a:xfrm>
            <a:off x="8186238" y="4351196"/>
            <a:ext cx="556243" cy="1477328"/>
          </a:xfrm>
          <a:prstGeom prst="rect">
            <a:avLst/>
          </a:prstGeom>
          <a:noFill/>
        </p:spPr>
        <p:txBody>
          <a:bodyPr wrap="none" lIns="0" tIns="0" rIns="0" bIns="0" rtlCol="0">
            <a:spAutoFit/>
          </a:bodyPr>
          <a:lstStyle/>
          <a:p>
            <a:pPr algn="ctr" defTabSz="912539" eaLnBrk="0" fontAlgn="base" hangingPunct="0">
              <a:spcBef>
                <a:spcPct val="0"/>
              </a:spcBef>
              <a:spcAft>
                <a:spcPct val="0"/>
              </a:spcAft>
              <a:defRPr/>
            </a:pPr>
            <a:r>
              <a:rPr lang="en-US" sz="9600" b="1">
                <a:solidFill>
                  <a:schemeClr val="accent6">
                    <a:lumMod val="40000"/>
                    <a:lumOff val="60000"/>
                  </a:schemeClr>
                </a:solidFill>
                <a:latin typeface="72 Brand" panose="020B0504030603020204" pitchFamily="34" charset="0"/>
              </a:rPr>
              <a:t>“</a:t>
            </a:r>
          </a:p>
        </p:txBody>
      </p:sp>
      <p:sp>
        <p:nvSpPr>
          <p:cNvPr id="21" name="TextBox 20">
            <a:extLst>
              <a:ext uri="{FF2B5EF4-FFF2-40B4-BE49-F238E27FC236}">
                <a16:creationId xmlns:a16="http://schemas.microsoft.com/office/drawing/2014/main" id="{BBF67E15-A979-B077-B233-5B2F7B851C36}"/>
              </a:ext>
            </a:extLst>
          </p:cNvPr>
          <p:cNvSpPr txBox="1"/>
          <p:nvPr/>
        </p:nvSpPr>
        <p:spPr>
          <a:xfrm>
            <a:off x="8334477" y="4849071"/>
            <a:ext cx="3296675" cy="992964"/>
          </a:xfrm>
          <a:prstGeom prst="rect">
            <a:avLst/>
          </a:prstGeom>
          <a:noFill/>
        </p:spPr>
        <p:txBody>
          <a:bodyPr wrap="square" rtlCol="0">
            <a:spAutoFit/>
          </a:bodyPr>
          <a:lstStyle/>
          <a:p>
            <a:pPr defTabSz="914126">
              <a:lnSpc>
                <a:spcPts val="1840"/>
              </a:lnSpc>
              <a:defRPr/>
            </a:pPr>
            <a:r>
              <a:rPr lang="en-US" sz="1200" dirty="0">
                <a:solidFill>
                  <a:srgbClr val="00144A"/>
                </a:solidFill>
                <a:latin typeface="72 Brand Book" panose="020B0404030603020204" pitchFamily="34" charset="0"/>
              </a:rPr>
              <a:t>As a manager, I need </a:t>
            </a:r>
            <a:r>
              <a:rPr lang="en-US" sz="1200" dirty="0">
                <a:solidFill>
                  <a:srgbClr val="00144A"/>
                </a:solidFill>
                <a:latin typeface="+mj-lt"/>
              </a:rPr>
              <a:t>actionable information </a:t>
            </a:r>
            <a:r>
              <a:rPr lang="en-US" sz="1200" dirty="0">
                <a:solidFill>
                  <a:srgbClr val="00144A"/>
                </a:solidFill>
                <a:latin typeface="72 Brand Book" panose="020B0404030603020204" pitchFamily="34" charset="0"/>
              </a:rPr>
              <a:t>that helps me take a more </a:t>
            </a:r>
            <a:r>
              <a:rPr lang="en-US" sz="1200" dirty="0">
                <a:solidFill>
                  <a:srgbClr val="00144A"/>
                </a:solidFill>
                <a:latin typeface="+mj-lt"/>
              </a:rPr>
              <a:t>equitable and efficient </a:t>
            </a:r>
            <a:r>
              <a:rPr lang="en-US" sz="1200" dirty="0">
                <a:solidFill>
                  <a:srgbClr val="00144A"/>
                </a:solidFill>
                <a:latin typeface="72 Brand Book" panose="020B0404030603020204" pitchFamily="34" charset="0"/>
              </a:rPr>
              <a:t>approach to employee compensation discussions.</a:t>
            </a:r>
          </a:p>
        </p:txBody>
      </p:sp>
      <p:grpSp>
        <p:nvGrpSpPr>
          <p:cNvPr id="22" name="Group 21">
            <a:extLst>
              <a:ext uri="{FF2B5EF4-FFF2-40B4-BE49-F238E27FC236}">
                <a16:creationId xmlns:a16="http://schemas.microsoft.com/office/drawing/2014/main" id="{15E95848-34E9-F2E9-3FAC-470128E227D6}"/>
              </a:ext>
            </a:extLst>
          </p:cNvPr>
          <p:cNvGrpSpPr/>
          <p:nvPr/>
        </p:nvGrpSpPr>
        <p:grpSpPr>
          <a:xfrm>
            <a:off x="9439969" y="3974382"/>
            <a:ext cx="1099981" cy="446467"/>
            <a:chOff x="1248656" y="655506"/>
            <a:chExt cx="1099981" cy="446467"/>
          </a:xfrm>
        </p:grpSpPr>
        <p:sp>
          <p:nvSpPr>
            <p:cNvPr id="23" name="TextBox 22">
              <a:extLst>
                <a:ext uri="{FF2B5EF4-FFF2-40B4-BE49-F238E27FC236}">
                  <a16:creationId xmlns:a16="http://schemas.microsoft.com/office/drawing/2014/main" id="{D7266FB8-2D6C-8DFC-1CB4-1A4A035D963D}"/>
                </a:ext>
              </a:extLst>
            </p:cNvPr>
            <p:cNvSpPr txBox="1"/>
            <p:nvPr/>
          </p:nvSpPr>
          <p:spPr>
            <a:xfrm>
              <a:off x="1248656" y="655506"/>
              <a:ext cx="1099981" cy="246221"/>
            </a:xfrm>
            <a:prstGeom prst="rect">
              <a:avLst/>
            </a:prstGeom>
            <a:noFill/>
          </p:spPr>
          <p:txBody>
            <a:bodyPr wrap="none">
              <a:spAutoFit/>
            </a:bodyPr>
            <a:lstStyle/>
            <a:p>
              <a:pPr defTabSz="1088449">
                <a:defRPr/>
              </a:pPr>
              <a:r>
                <a:rPr lang="en-US" sz="1000">
                  <a:solidFill>
                    <a:srgbClr val="1C0C6D"/>
                  </a:solidFill>
                  <a:latin typeface="72 Brand Book" panose="020B0404030603020204" pitchFamily="34" charset="0"/>
                </a:rPr>
                <a:t>People Manager</a:t>
              </a:r>
            </a:p>
          </p:txBody>
        </p:sp>
        <p:sp>
          <p:nvSpPr>
            <p:cNvPr id="24" name="TextBox 23">
              <a:extLst>
                <a:ext uri="{FF2B5EF4-FFF2-40B4-BE49-F238E27FC236}">
                  <a16:creationId xmlns:a16="http://schemas.microsoft.com/office/drawing/2014/main" id="{BBF4B2C1-9B7A-6CD9-EEEB-D6CDB5A32DF1}"/>
                </a:ext>
              </a:extLst>
            </p:cNvPr>
            <p:cNvSpPr txBox="1"/>
            <p:nvPr/>
          </p:nvSpPr>
          <p:spPr>
            <a:xfrm>
              <a:off x="1248656" y="855752"/>
              <a:ext cx="511679" cy="246221"/>
            </a:xfrm>
            <a:prstGeom prst="rect">
              <a:avLst/>
            </a:prstGeom>
            <a:noFill/>
          </p:spPr>
          <p:txBody>
            <a:bodyPr wrap="none">
              <a:spAutoFit/>
            </a:bodyPr>
            <a:lstStyle/>
            <a:p>
              <a:pPr>
                <a:defRPr/>
              </a:pPr>
              <a:r>
                <a:rPr lang="en-US" sz="1000" b="1">
                  <a:latin typeface="72 Brand" panose="020B0504030603020204" pitchFamily="34" charset="0"/>
                </a:rPr>
                <a:t>Akira</a:t>
              </a:r>
            </a:p>
          </p:txBody>
        </p:sp>
      </p:grpSp>
      <p:sp>
        <p:nvSpPr>
          <p:cNvPr id="25" name="TextBox 6">
            <a:extLst>
              <a:ext uri="{FF2B5EF4-FFF2-40B4-BE49-F238E27FC236}">
                <a16:creationId xmlns:a16="http://schemas.microsoft.com/office/drawing/2014/main" id="{541A92D5-C8EC-C37B-331D-03D52299DCF8}"/>
              </a:ext>
            </a:extLst>
          </p:cNvPr>
          <p:cNvSpPr txBox="1"/>
          <p:nvPr/>
        </p:nvSpPr>
        <p:spPr>
          <a:xfrm>
            <a:off x="8141691" y="1237960"/>
            <a:ext cx="3642760" cy="2377975"/>
          </a:xfrm>
          <a:prstGeom prst="rect">
            <a:avLst/>
          </a:prstGeom>
          <a:noFill/>
        </p:spPr>
        <p:txBody>
          <a:bodyPr wrap="square" lIns="91392" tIns="45696" rIns="91392"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3030">
              <a:lnSpc>
                <a:spcPts val="1840"/>
              </a:lnSpc>
              <a:spcBef>
                <a:spcPts val="200"/>
              </a:spcBef>
              <a:spcAft>
                <a:spcPct val="0"/>
              </a:spcAft>
              <a:defRPr/>
            </a:pPr>
            <a:r>
              <a:rPr lang="de-DE" sz="1400" dirty="0">
                <a:solidFill>
                  <a:srgbClr val="00144A"/>
                </a:solidFill>
                <a:latin typeface="+mj-lt"/>
              </a:rPr>
              <a:t>Zugriff über Joule, KI-gestützte Vergütungsinformationen </a:t>
            </a:r>
            <a:r>
              <a:rPr lang="de-DE" sz="1200" spc="25" dirty="0">
                <a:solidFill>
                  <a:srgbClr val="000000"/>
                </a:solidFill>
                <a:latin typeface="72 Brand Book" panose="020B0404030603020204" pitchFamily="34" charset="0"/>
                <a:cs typeface="72-Regular" panose="020B0503030000000003" pitchFamily="34" charset="0"/>
              </a:rPr>
              <a:t>Unterstützung von Personalverantwortlichen, indem sie relevante Gesprächspunkte bereitgestellt bekommen, um ihre persönlichen Vergütungsgespräche mit Mitarbeitern zu führen. Dies trägt dazu bei, Vielfalt, Gleichberechtigung und Inklusion zu fördern, indem menschliche Voreingenommenheit vermieden und Vergütungen und die Arbeitshistorie neutral betrachtet werden. </a:t>
            </a:r>
            <a:endParaRPr lang="en-US" sz="1400" spc="25" dirty="0">
              <a:solidFill>
                <a:srgbClr val="000000"/>
              </a:solidFill>
              <a:latin typeface="72 Brand Book" panose="020B0404030603020204" pitchFamily="34" charset="0"/>
              <a:cs typeface="72-Regular" panose="020B0503030000000003" pitchFamily="34" charset="0"/>
            </a:endParaRPr>
          </a:p>
        </p:txBody>
      </p:sp>
      <p:sp>
        <p:nvSpPr>
          <p:cNvPr id="26" name="TextBox 25">
            <a:extLst>
              <a:ext uri="{FF2B5EF4-FFF2-40B4-BE49-F238E27FC236}">
                <a16:creationId xmlns:a16="http://schemas.microsoft.com/office/drawing/2014/main" id="{F07ED79C-172A-08E9-ADF3-4C52C946CDB9}"/>
              </a:ext>
            </a:extLst>
          </p:cNvPr>
          <p:cNvSpPr txBox="1"/>
          <p:nvPr/>
        </p:nvSpPr>
        <p:spPr>
          <a:xfrm>
            <a:off x="8060615" y="857340"/>
            <a:ext cx="1907208" cy="369332"/>
          </a:xfrm>
          <a:prstGeom prst="rect">
            <a:avLst/>
          </a:prstGeom>
          <a:noFill/>
        </p:spPr>
        <p:txBody>
          <a:bodyPr wrap="none" lIns="180000" rIns="180000">
            <a:spAutoFit/>
          </a:bodyPr>
          <a:lstStyle/>
          <a:p>
            <a:r>
              <a:rPr lang="en-GB" sz="1800" b="1" dirty="0">
                <a:solidFill>
                  <a:schemeClr val="accent6">
                    <a:lumMod val="50000"/>
                  </a:schemeClr>
                </a:solidFill>
                <a:latin typeface="72 Brand" panose="020B0504030603020204" pitchFamily="34" charset="0"/>
              </a:rPr>
              <a:t>Work Smarter</a:t>
            </a:r>
          </a:p>
        </p:txBody>
      </p:sp>
      <p:pic>
        <p:nvPicPr>
          <p:cNvPr id="30" name="Picture Placeholder 2">
            <a:extLst>
              <a:ext uri="{FF2B5EF4-FFF2-40B4-BE49-F238E27FC236}">
                <a16:creationId xmlns:a16="http://schemas.microsoft.com/office/drawing/2014/main" id="{071043FA-4CF8-548A-365B-6841555B9081}"/>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rcRect l="305" r="305"/>
          <a:stretch/>
        </p:blipFill>
        <p:spPr>
          <a:xfrm>
            <a:off x="8226141" y="3860732"/>
            <a:ext cx="1360699" cy="673768"/>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sp>
        <p:nvSpPr>
          <p:cNvPr id="34" name="TextBox 3">
            <a:extLst>
              <a:ext uri="{FF2B5EF4-FFF2-40B4-BE49-F238E27FC236}">
                <a16:creationId xmlns:a16="http://schemas.microsoft.com/office/drawing/2014/main" id="{87638B88-8CDF-6FAE-4BAE-199FE6E51969}"/>
              </a:ext>
            </a:extLst>
          </p:cNvPr>
          <p:cNvSpPr txBox="1"/>
          <p:nvPr/>
        </p:nvSpPr>
        <p:spPr>
          <a:xfrm>
            <a:off x="496487" y="6290939"/>
            <a:ext cx="3200642"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kern="0">
                <a:latin typeface="72 Brand" panose="020B0504030603020204" pitchFamily="34" charset="0"/>
                <a:ea typeface="72 Brand" pitchFamily="34" charset="-128"/>
                <a:cs typeface="72 Brand" pitchFamily="34" charset="-128"/>
              </a:rPr>
              <a:t>** Source: SAP internal research, October 2024.</a:t>
            </a:r>
          </a:p>
        </p:txBody>
      </p:sp>
      <p:cxnSp>
        <p:nvCxnSpPr>
          <p:cNvPr id="35" name="Straight Connector 34">
            <a:extLst>
              <a:ext uri="{FF2B5EF4-FFF2-40B4-BE49-F238E27FC236}">
                <a16:creationId xmlns:a16="http://schemas.microsoft.com/office/drawing/2014/main" id="{126F52C1-1F20-C407-B146-EB5B1D629711}"/>
              </a:ext>
            </a:extLst>
          </p:cNvPr>
          <p:cNvCxnSpPr/>
          <p:nvPr/>
        </p:nvCxnSpPr>
        <p:spPr>
          <a:xfrm>
            <a:off x="7816132" y="0"/>
            <a:ext cx="0" cy="6858000"/>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sp>
        <p:nvSpPr>
          <p:cNvPr id="37" name="Title 36">
            <a:extLst>
              <a:ext uri="{FF2B5EF4-FFF2-40B4-BE49-F238E27FC236}">
                <a16:creationId xmlns:a16="http://schemas.microsoft.com/office/drawing/2014/main" id="{3952E3DA-60AD-4C3D-A45C-CEE7CEBC2E69}"/>
              </a:ext>
            </a:extLst>
          </p:cNvPr>
          <p:cNvSpPr>
            <a:spLocks noGrp="1"/>
          </p:cNvSpPr>
          <p:nvPr>
            <p:ph type="title"/>
          </p:nvPr>
        </p:nvSpPr>
        <p:spPr/>
        <p:txBody>
          <a:bodyPr/>
          <a:lstStyle/>
          <a:p>
            <a:pPr defTabSz="1087905">
              <a:spcBef>
                <a:spcPts val="1798"/>
              </a:spcBef>
              <a:buClr>
                <a:srgbClr val="F0AB00"/>
              </a:buClr>
              <a:buSzPct val="80000"/>
              <a:defRPr/>
            </a:pPr>
            <a:r>
              <a:rPr lang="en-US" dirty="0">
                <a:solidFill>
                  <a:srgbClr val="0070F2"/>
                </a:solidFill>
              </a:rPr>
              <a:t>KI-</a:t>
            </a:r>
            <a:r>
              <a:rPr lang="en-US" dirty="0" err="1">
                <a:solidFill>
                  <a:srgbClr val="0070F2"/>
                </a:solidFill>
              </a:rPr>
              <a:t>unterstützte</a:t>
            </a:r>
            <a:r>
              <a:rPr lang="en-US" dirty="0">
                <a:solidFill>
                  <a:srgbClr val="0070F2"/>
                </a:solidFill>
              </a:rPr>
              <a:t> </a:t>
            </a:r>
            <a:r>
              <a:rPr lang="en-US" dirty="0" err="1">
                <a:solidFill>
                  <a:srgbClr val="0070F2"/>
                </a:solidFill>
              </a:rPr>
              <a:t>Vergütungsinformationen</a:t>
            </a:r>
            <a:endParaRPr lang="en-US" dirty="0">
              <a:solidFill>
                <a:srgbClr val="0070F2"/>
              </a:solidFill>
            </a:endParaRPr>
          </a:p>
        </p:txBody>
      </p:sp>
      <p:pic>
        <p:nvPicPr>
          <p:cNvPr id="7" name="Picture 6" descr="A person smiling at the camera&#10;&#10;Description automatically generated">
            <a:extLst>
              <a:ext uri="{FF2B5EF4-FFF2-40B4-BE49-F238E27FC236}">
                <a16:creationId xmlns:a16="http://schemas.microsoft.com/office/drawing/2014/main" id="{668C62CB-BAA9-F96D-E301-6905706A2F7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88925" y="3612674"/>
            <a:ext cx="1402734" cy="935156"/>
          </a:xfrm>
          <a:prstGeom prst="rect">
            <a:avLst/>
          </a:prstGeom>
        </p:spPr>
      </p:pic>
    </p:spTree>
    <p:extLst>
      <p:ext uri="{BB962C8B-B14F-4D97-AF65-F5344CB8AC3E}">
        <p14:creationId xmlns:p14="http://schemas.microsoft.com/office/powerpoint/2010/main" val="18829704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062F5-E768-088E-6246-55B0A029A437}"/>
            </a:ext>
          </a:extLst>
        </p:cNvPr>
        <p:cNvGrpSpPr/>
        <p:nvPr/>
      </p:nvGrpSpPr>
      <p:grpSpPr>
        <a:xfrm>
          <a:off x="0" y="0"/>
          <a:ext cx="0" cy="0"/>
          <a:chOff x="0" y="0"/>
          <a:chExt cx="0" cy="0"/>
        </a:xfrm>
      </p:grpSpPr>
      <p:pic>
        <p:nvPicPr>
          <p:cNvPr id="23" name="Content Placeholder 4">
            <a:extLst>
              <a:ext uri="{FF2B5EF4-FFF2-40B4-BE49-F238E27FC236}">
                <a16:creationId xmlns:a16="http://schemas.microsoft.com/office/drawing/2014/main" id="{8F266BA4-2AAE-5C74-0638-F1494D7BE47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6487" y="2078311"/>
            <a:ext cx="6914241" cy="3897381"/>
          </a:xfrm>
          <a:prstGeom prst="roundRect">
            <a:avLst>
              <a:gd name="adj" fmla="val 2104"/>
            </a:avLst>
          </a:prstGeom>
          <a:noFill/>
          <a:ln w="6350">
            <a:solidFill>
              <a:schemeClr val="bg1">
                <a:lumMod val="75000"/>
              </a:schemeClr>
            </a:solidFill>
          </a:ln>
          <a:effectLst/>
        </p:spPr>
      </p:pic>
      <p:grpSp>
        <p:nvGrpSpPr>
          <p:cNvPr id="14" name="Group 13">
            <a:extLst>
              <a:ext uri="{FF2B5EF4-FFF2-40B4-BE49-F238E27FC236}">
                <a16:creationId xmlns:a16="http://schemas.microsoft.com/office/drawing/2014/main" id="{9966DE69-4E38-96DB-CC4A-5ED6ADC2F495}"/>
              </a:ext>
            </a:extLst>
          </p:cNvPr>
          <p:cNvGrpSpPr/>
          <p:nvPr/>
        </p:nvGrpSpPr>
        <p:grpSpPr>
          <a:xfrm>
            <a:off x="8226947" y="3857161"/>
            <a:ext cx="1961148" cy="673768"/>
            <a:chOff x="9398522" y="1957898"/>
            <a:chExt cx="1961148" cy="673768"/>
          </a:xfrm>
        </p:grpSpPr>
        <p:grpSp>
          <p:nvGrpSpPr>
            <p:cNvPr id="5" name="Group 4">
              <a:extLst>
                <a:ext uri="{FF2B5EF4-FFF2-40B4-BE49-F238E27FC236}">
                  <a16:creationId xmlns:a16="http://schemas.microsoft.com/office/drawing/2014/main" id="{110007BF-E2B9-458D-5CA5-BCDF1FD4A2ED}"/>
                </a:ext>
              </a:extLst>
            </p:cNvPr>
            <p:cNvGrpSpPr/>
            <p:nvPr/>
          </p:nvGrpSpPr>
          <p:grpSpPr>
            <a:xfrm>
              <a:off x="10612350" y="2071548"/>
              <a:ext cx="747320" cy="446467"/>
              <a:chOff x="1248656" y="655506"/>
              <a:chExt cx="747320" cy="446467"/>
            </a:xfrm>
          </p:grpSpPr>
          <p:sp>
            <p:nvSpPr>
              <p:cNvPr id="6" name="TextBox 5">
                <a:extLst>
                  <a:ext uri="{FF2B5EF4-FFF2-40B4-BE49-F238E27FC236}">
                    <a16:creationId xmlns:a16="http://schemas.microsoft.com/office/drawing/2014/main" id="{89B4012F-BB7C-3E7F-F904-ECEC19331309}"/>
                  </a:ext>
                </a:extLst>
              </p:cNvPr>
              <p:cNvSpPr txBox="1"/>
              <p:nvPr/>
            </p:nvSpPr>
            <p:spPr>
              <a:xfrm>
                <a:off x="1248656" y="655506"/>
                <a:ext cx="747320" cy="246221"/>
              </a:xfrm>
              <a:prstGeom prst="rect">
                <a:avLst/>
              </a:prstGeom>
              <a:noFill/>
            </p:spPr>
            <p:txBody>
              <a:bodyPr wrap="none">
                <a:spAutoFit/>
              </a:bodyPr>
              <a:lstStyle/>
              <a:p>
                <a:pPr defTabSz="1088449">
                  <a:defRPr/>
                </a:pPr>
                <a:r>
                  <a:rPr lang="en-US" sz="1000">
                    <a:solidFill>
                      <a:srgbClr val="1C0C6D"/>
                    </a:solidFill>
                    <a:latin typeface="72 Brand Book" panose="020B0404030603020204" pitchFamily="34" charset="0"/>
                  </a:rPr>
                  <a:t>Employee</a:t>
                </a:r>
              </a:p>
            </p:txBody>
          </p:sp>
          <p:sp>
            <p:nvSpPr>
              <p:cNvPr id="8" name="TextBox 7">
                <a:extLst>
                  <a:ext uri="{FF2B5EF4-FFF2-40B4-BE49-F238E27FC236}">
                    <a16:creationId xmlns:a16="http://schemas.microsoft.com/office/drawing/2014/main" id="{8B78FDB9-A54D-E6A5-E0EF-45F732BE56B2}"/>
                  </a:ext>
                </a:extLst>
              </p:cNvPr>
              <p:cNvSpPr txBox="1"/>
              <p:nvPr/>
            </p:nvSpPr>
            <p:spPr>
              <a:xfrm>
                <a:off x="1248656" y="855752"/>
                <a:ext cx="675185" cy="246221"/>
              </a:xfrm>
              <a:prstGeom prst="rect">
                <a:avLst/>
              </a:prstGeom>
              <a:noFill/>
            </p:spPr>
            <p:txBody>
              <a:bodyPr wrap="none">
                <a:spAutoFit/>
              </a:bodyPr>
              <a:lstStyle/>
              <a:p>
                <a:pPr>
                  <a:defRPr/>
                </a:pPr>
                <a:r>
                  <a:rPr lang="en-US" sz="1000" b="1">
                    <a:latin typeface="72 Brand" panose="020B0504030603020204" pitchFamily="34" charset="0"/>
                  </a:rPr>
                  <a:t>Michael</a:t>
                </a:r>
              </a:p>
            </p:txBody>
          </p:sp>
        </p:grpSp>
        <p:pic>
          <p:nvPicPr>
            <p:cNvPr id="9" name="Picture Placeholder 2">
              <a:extLst>
                <a:ext uri="{FF2B5EF4-FFF2-40B4-BE49-F238E27FC236}">
                  <a16:creationId xmlns:a16="http://schemas.microsoft.com/office/drawing/2014/main" id="{3EB2F3CF-BC86-BF1F-8E0E-765949CA692F}"/>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305" r="305"/>
            <a:stretch/>
          </p:blipFill>
          <p:spPr>
            <a:xfrm>
              <a:off x="9398522" y="1957898"/>
              <a:ext cx="1360699" cy="673768"/>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grpSp>
      <p:sp>
        <p:nvSpPr>
          <p:cNvPr id="2" name="TextBox 1">
            <a:extLst>
              <a:ext uri="{FF2B5EF4-FFF2-40B4-BE49-F238E27FC236}">
                <a16:creationId xmlns:a16="http://schemas.microsoft.com/office/drawing/2014/main" id="{BBEE1DE0-C7D5-319B-3E00-2BAD4E15671C}"/>
              </a:ext>
            </a:extLst>
          </p:cNvPr>
          <p:cNvSpPr txBox="1"/>
          <p:nvPr/>
        </p:nvSpPr>
        <p:spPr>
          <a:xfrm>
            <a:off x="496487" y="1354277"/>
            <a:ext cx="1367624" cy="430887"/>
          </a:xfrm>
          <a:prstGeom prst="rect">
            <a:avLst/>
          </a:prstGeom>
          <a:noFill/>
        </p:spPr>
        <p:txBody>
          <a:bodyPr wrap="square" lIns="0" tIns="0" rIns="0" bIns="0" rtlCol="0">
            <a:spAutoFit/>
          </a:bodyPr>
          <a:lstStyle>
            <a:defPPr>
              <a:defRPr lang="de-DE"/>
            </a:defPPr>
            <a:lvl1pPr defTabSz="914400">
              <a:defRPr sz="2400" b="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defRPr>
            </a:lvl1pPr>
          </a:lstStyle>
          <a:p>
            <a:r>
              <a:rPr lang="en-US" sz="2800">
                <a:solidFill>
                  <a:schemeClr val="accent6">
                    <a:lumMod val="50000"/>
                  </a:schemeClr>
                </a:solidFill>
              </a:rPr>
              <a:t>70%</a:t>
            </a:r>
          </a:p>
        </p:txBody>
      </p:sp>
      <p:sp>
        <p:nvSpPr>
          <p:cNvPr id="3" name="TextBox 2">
            <a:extLst>
              <a:ext uri="{FF2B5EF4-FFF2-40B4-BE49-F238E27FC236}">
                <a16:creationId xmlns:a16="http://schemas.microsoft.com/office/drawing/2014/main" id="{A8BDC941-FA3A-D129-4A73-CF56FA611C76}"/>
              </a:ext>
            </a:extLst>
          </p:cNvPr>
          <p:cNvSpPr txBox="1"/>
          <p:nvPr/>
        </p:nvSpPr>
        <p:spPr>
          <a:xfrm>
            <a:off x="1398944" y="1415831"/>
            <a:ext cx="2155624" cy="46166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Geringerer Zeitaufwand für Mitarbeiter und Manager bei der Untersuchung von HR-Richtlinienfragen **</a:t>
            </a:r>
            <a:endParaRPr lang="en-US" sz="1000" kern="0" baseline="30000" dirty="0">
              <a:latin typeface="72 Brand" panose="020B0504030603020204" pitchFamily="34" charset="0"/>
              <a:ea typeface="72 Brand" pitchFamily="34" charset="-128"/>
              <a:cs typeface="72 Brand" pitchFamily="34" charset="-128"/>
            </a:endParaRPr>
          </a:p>
        </p:txBody>
      </p:sp>
      <p:cxnSp>
        <p:nvCxnSpPr>
          <p:cNvPr id="4" name="Straight Connector 3">
            <a:extLst>
              <a:ext uri="{FF2B5EF4-FFF2-40B4-BE49-F238E27FC236}">
                <a16:creationId xmlns:a16="http://schemas.microsoft.com/office/drawing/2014/main" id="{DD075621-2A1D-7723-B012-A396D9594724}"/>
              </a:ext>
            </a:extLst>
          </p:cNvPr>
          <p:cNvCxnSpPr>
            <a:cxnSpLocks/>
          </p:cNvCxnSpPr>
          <p:nvPr/>
        </p:nvCxnSpPr>
        <p:spPr>
          <a:xfrm>
            <a:off x="3655648" y="1142000"/>
            <a:ext cx="0" cy="735496"/>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8E79C7-1F88-4901-5080-B0E454D66CD0}"/>
              </a:ext>
            </a:extLst>
          </p:cNvPr>
          <p:cNvSpPr txBox="1"/>
          <p:nvPr/>
        </p:nvSpPr>
        <p:spPr>
          <a:xfrm>
            <a:off x="4339634" y="1386782"/>
            <a:ext cx="2768825" cy="46166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Deutlich weniger Zeit für HR-Spezialisten bei der Recherche und Beantwortung empfangener HR-Richtlinienanfragen</a:t>
            </a:r>
            <a:endParaRPr lang="en-US" sz="1000" kern="0" dirty="0">
              <a:latin typeface="72 Brand" panose="020B0504030603020204" pitchFamily="34" charset="0"/>
              <a:ea typeface="72 Brand" pitchFamily="34" charset="-128"/>
              <a:cs typeface="72 Brand" pitchFamily="34" charset="-128"/>
            </a:endParaRPr>
          </a:p>
        </p:txBody>
      </p:sp>
      <p:sp>
        <p:nvSpPr>
          <p:cNvPr id="10" name="Rectangle 9">
            <a:extLst>
              <a:ext uri="{FF2B5EF4-FFF2-40B4-BE49-F238E27FC236}">
                <a16:creationId xmlns:a16="http://schemas.microsoft.com/office/drawing/2014/main" id="{FB023345-1023-C435-ACFE-9563857A14E1}"/>
              </a:ext>
            </a:extLst>
          </p:cNvPr>
          <p:cNvSpPr/>
          <p:nvPr/>
        </p:nvSpPr>
        <p:spPr bwMode="gray">
          <a:xfrm>
            <a:off x="8186238" y="4775132"/>
            <a:ext cx="3510276" cy="1187972"/>
          </a:xfrm>
          <a:prstGeom prst="rect">
            <a:avLst/>
          </a:prstGeom>
          <a:solidFill>
            <a:schemeClr val="accent6">
              <a:lumMod val="20000"/>
              <a:lumOff val="8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E9ECEE"/>
              </a:solidFill>
              <a:latin typeface="Aptos" panose="02110004020202020204"/>
            </a:endParaRPr>
          </a:p>
        </p:txBody>
      </p:sp>
      <p:sp>
        <p:nvSpPr>
          <p:cNvPr id="12" name="TextBox 11">
            <a:extLst>
              <a:ext uri="{FF2B5EF4-FFF2-40B4-BE49-F238E27FC236}">
                <a16:creationId xmlns:a16="http://schemas.microsoft.com/office/drawing/2014/main" id="{4226F8CD-2AED-B9EB-72B1-6DA556AFBA51}"/>
              </a:ext>
            </a:extLst>
          </p:cNvPr>
          <p:cNvSpPr txBox="1"/>
          <p:nvPr/>
        </p:nvSpPr>
        <p:spPr>
          <a:xfrm>
            <a:off x="8186238" y="4351196"/>
            <a:ext cx="556243" cy="1477328"/>
          </a:xfrm>
          <a:prstGeom prst="rect">
            <a:avLst/>
          </a:prstGeom>
          <a:noFill/>
        </p:spPr>
        <p:txBody>
          <a:bodyPr wrap="none" lIns="0" tIns="0" rIns="0" bIns="0" rtlCol="0">
            <a:spAutoFit/>
          </a:bodyPr>
          <a:lstStyle/>
          <a:p>
            <a:pPr algn="ctr" defTabSz="912539" eaLnBrk="0" fontAlgn="base" hangingPunct="0">
              <a:spcBef>
                <a:spcPct val="0"/>
              </a:spcBef>
              <a:spcAft>
                <a:spcPct val="0"/>
              </a:spcAft>
              <a:defRPr/>
            </a:pPr>
            <a:r>
              <a:rPr lang="en-US" sz="9600" b="1">
                <a:solidFill>
                  <a:schemeClr val="accent6">
                    <a:lumMod val="40000"/>
                    <a:lumOff val="60000"/>
                  </a:schemeClr>
                </a:solidFill>
                <a:latin typeface="72 Brand" panose="020B0504030603020204" pitchFamily="34" charset="0"/>
              </a:rPr>
              <a:t>“</a:t>
            </a:r>
          </a:p>
        </p:txBody>
      </p:sp>
      <p:sp>
        <p:nvSpPr>
          <p:cNvPr id="21" name="TextBox 20">
            <a:extLst>
              <a:ext uri="{FF2B5EF4-FFF2-40B4-BE49-F238E27FC236}">
                <a16:creationId xmlns:a16="http://schemas.microsoft.com/office/drawing/2014/main" id="{BBF67E15-A979-B077-B233-5B2F7B851C36}"/>
              </a:ext>
            </a:extLst>
          </p:cNvPr>
          <p:cNvSpPr txBox="1"/>
          <p:nvPr/>
        </p:nvSpPr>
        <p:spPr>
          <a:xfrm>
            <a:off x="8334477" y="4849071"/>
            <a:ext cx="3296675" cy="992964"/>
          </a:xfrm>
          <a:prstGeom prst="rect">
            <a:avLst/>
          </a:prstGeom>
          <a:noFill/>
        </p:spPr>
        <p:txBody>
          <a:bodyPr wrap="square" rtlCol="0">
            <a:spAutoFit/>
          </a:bodyPr>
          <a:lstStyle/>
          <a:p>
            <a:pPr defTabSz="914126">
              <a:lnSpc>
                <a:spcPts val="1840"/>
              </a:lnSpc>
              <a:defRPr/>
            </a:pPr>
            <a:r>
              <a:rPr lang="en-US" sz="1200">
                <a:solidFill>
                  <a:srgbClr val="00144A"/>
                </a:solidFill>
                <a:latin typeface="72 Brand Book" panose="020B0404030603020204" pitchFamily="34" charset="0"/>
              </a:rPr>
              <a:t>As an employee, I often have a difficult time getting </a:t>
            </a:r>
            <a:r>
              <a:rPr lang="en-US" sz="1200" b="1">
                <a:solidFill>
                  <a:srgbClr val="00144A"/>
                </a:solidFill>
                <a:latin typeface="72 Brand Book" panose="020B0404030603020204" pitchFamily="34" charset="0"/>
              </a:rPr>
              <a:t>accurate answers to questions about company policy</a:t>
            </a:r>
            <a:r>
              <a:rPr lang="en-US" sz="1200">
                <a:solidFill>
                  <a:srgbClr val="00144A"/>
                </a:solidFill>
                <a:latin typeface="72 Brand Book" panose="020B0404030603020204" pitchFamily="34" charset="0"/>
              </a:rPr>
              <a:t>. I no longer need to wait for HR to reply with an answer to my query.</a:t>
            </a:r>
          </a:p>
        </p:txBody>
      </p:sp>
      <p:sp>
        <p:nvSpPr>
          <p:cNvPr id="25" name="TextBox 6">
            <a:extLst>
              <a:ext uri="{FF2B5EF4-FFF2-40B4-BE49-F238E27FC236}">
                <a16:creationId xmlns:a16="http://schemas.microsoft.com/office/drawing/2014/main" id="{541A92D5-C8EC-C37B-331D-03D52299DCF8}"/>
              </a:ext>
            </a:extLst>
          </p:cNvPr>
          <p:cNvSpPr txBox="1"/>
          <p:nvPr/>
        </p:nvSpPr>
        <p:spPr>
          <a:xfrm>
            <a:off x="8141691" y="1237960"/>
            <a:ext cx="3556995" cy="2377975"/>
          </a:xfrm>
          <a:prstGeom prst="rect">
            <a:avLst/>
          </a:prstGeom>
          <a:noFill/>
        </p:spPr>
        <p:txBody>
          <a:bodyPr wrap="square" lIns="91392" tIns="45696" rIns="91392"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3030">
              <a:lnSpc>
                <a:spcPts val="1840"/>
              </a:lnSpc>
              <a:spcBef>
                <a:spcPts val="200"/>
              </a:spcBef>
              <a:spcAft>
                <a:spcPct val="0"/>
              </a:spcAft>
              <a:defRPr/>
            </a:pPr>
            <a:r>
              <a:rPr lang="en-US" sz="1400" dirty="0">
                <a:solidFill>
                  <a:srgbClr val="00144A"/>
                </a:solidFill>
                <a:latin typeface="+mj-lt"/>
              </a:rPr>
              <a:t>KI-</a:t>
            </a:r>
            <a:r>
              <a:rPr lang="en-US" sz="1400" dirty="0" err="1">
                <a:solidFill>
                  <a:srgbClr val="00144A"/>
                </a:solidFill>
                <a:latin typeface="+mj-lt"/>
              </a:rPr>
              <a:t>gestützte</a:t>
            </a:r>
            <a:r>
              <a:rPr lang="en-US" sz="1400" dirty="0">
                <a:solidFill>
                  <a:srgbClr val="00144A"/>
                </a:solidFill>
                <a:latin typeface="+mj-lt"/>
              </a:rPr>
              <a:t> </a:t>
            </a:r>
            <a:r>
              <a:rPr lang="en-US" sz="1400" dirty="0" err="1">
                <a:solidFill>
                  <a:srgbClr val="00144A"/>
                </a:solidFill>
                <a:latin typeface="+mj-lt"/>
              </a:rPr>
              <a:t>Fragen</a:t>
            </a:r>
            <a:r>
              <a:rPr lang="en-US" sz="1400" dirty="0">
                <a:solidFill>
                  <a:srgbClr val="00144A"/>
                </a:solidFill>
                <a:latin typeface="+mj-lt"/>
              </a:rPr>
              <a:t> und </a:t>
            </a:r>
            <a:r>
              <a:rPr lang="en-US" sz="1400" dirty="0" err="1">
                <a:solidFill>
                  <a:srgbClr val="00144A"/>
                </a:solidFill>
                <a:latin typeface="+mj-lt"/>
              </a:rPr>
              <a:t>Antworten</a:t>
            </a:r>
            <a:r>
              <a:rPr lang="en-US" sz="1400" dirty="0">
                <a:solidFill>
                  <a:srgbClr val="00144A"/>
                </a:solidFill>
                <a:latin typeface="+mj-lt"/>
              </a:rPr>
              <a:t> </a:t>
            </a:r>
            <a:br>
              <a:rPr lang="en-US" sz="1400" dirty="0">
                <a:solidFill>
                  <a:srgbClr val="00144A"/>
                </a:solidFill>
                <a:latin typeface="+mj-lt"/>
              </a:rPr>
            </a:br>
            <a:r>
              <a:rPr lang="de-DE" sz="1200" spc="25" dirty="0">
                <a:solidFill>
                  <a:srgbClr val="000000"/>
                </a:solidFill>
                <a:latin typeface="72 Brand Book" panose="020B0404030603020204" pitchFamily="34" charset="0"/>
                <a:cs typeface="72-Regular" panose="020B0503030000000003" pitchFamily="34" charset="0"/>
              </a:rPr>
              <a:t>hilft Mitarbeitern dabei, relevante (strukturierte und unstrukturierte) HR-Richtlinieninformationen direkt abzurufen sowie relevante HR-Richtliniendaten einzustufen und zusammenzufassen, damit Mitarbeiter die gewünschten Inhalte schnell finden können. Wie ein echter Assistent bietet Joule eine geführte Benutzererfahrung, um den gesamten Prozess zu optimieren.</a:t>
            </a:r>
            <a:endParaRPr lang="en-US" sz="1400" spc="25" dirty="0">
              <a:solidFill>
                <a:srgbClr val="000000"/>
              </a:solidFill>
              <a:latin typeface="72 Brand Book" panose="020B0404030603020204" pitchFamily="34" charset="0"/>
              <a:cs typeface="72-Regular" panose="020B0503030000000003" pitchFamily="34" charset="0"/>
            </a:endParaRPr>
          </a:p>
        </p:txBody>
      </p:sp>
      <p:sp>
        <p:nvSpPr>
          <p:cNvPr id="34" name="TextBox 3">
            <a:extLst>
              <a:ext uri="{FF2B5EF4-FFF2-40B4-BE49-F238E27FC236}">
                <a16:creationId xmlns:a16="http://schemas.microsoft.com/office/drawing/2014/main" id="{87638B88-8CDF-6FAE-4BAE-199FE6E51969}"/>
              </a:ext>
            </a:extLst>
          </p:cNvPr>
          <p:cNvSpPr txBox="1"/>
          <p:nvPr/>
        </p:nvSpPr>
        <p:spPr>
          <a:xfrm>
            <a:off x="496487" y="6290939"/>
            <a:ext cx="3200642"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kern="0">
                <a:latin typeface="72 Brand" panose="020B0504030603020204" pitchFamily="34" charset="0"/>
                <a:ea typeface="72 Brand" pitchFamily="34" charset="-128"/>
                <a:cs typeface="72 Brand" pitchFamily="34" charset="-128"/>
              </a:rPr>
              <a:t>** Source: SAP internal research, October 2024.</a:t>
            </a:r>
          </a:p>
        </p:txBody>
      </p:sp>
      <p:cxnSp>
        <p:nvCxnSpPr>
          <p:cNvPr id="35" name="Straight Connector 34">
            <a:extLst>
              <a:ext uri="{FF2B5EF4-FFF2-40B4-BE49-F238E27FC236}">
                <a16:creationId xmlns:a16="http://schemas.microsoft.com/office/drawing/2014/main" id="{126F52C1-1F20-C407-B146-EB5B1D629711}"/>
              </a:ext>
            </a:extLst>
          </p:cNvPr>
          <p:cNvCxnSpPr/>
          <p:nvPr/>
        </p:nvCxnSpPr>
        <p:spPr>
          <a:xfrm>
            <a:off x="7816132" y="0"/>
            <a:ext cx="0" cy="6858000"/>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sp>
        <p:nvSpPr>
          <p:cNvPr id="37" name="Title 36">
            <a:extLst>
              <a:ext uri="{FF2B5EF4-FFF2-40B4-BE49-F238E27FC236}">
                <a16:creationId xmlns:a16="http://schemas.microsoft.com/office/drawing/2014/main" id="{3952E3DA-60AD-4C3D-A45C-CEE7CEBC2E69}"/>
              </a:ext>
            </a:extLst>
          </p:cNvPr>
          <p:cNvSpPr>
            <a:spLocks noGrp="1"/>
          </p:cNvSpPr>
          <p:nvPr>
            <p:ph type="title"/>
          </p:nvPr>
        </p:nvSpPr>
        <p:spPr/>
        <p:txBody>
          <a:bodyPr/>
          <a:lstStyle/>
          <a:p>
            <a:pPr defTabSz="1087905">
              <a:spcBef>
                <a:spcPts val="1798"/>
              </a:spcBef>
              <a:buClr>
                <a:srgbClr val="F0AB00"/>
              </a:buClr>
              <a:buSzPct val="80000"/>
              <a:defRPr/>
            </a:pPr>
            <a:r>
              <a:rPr lang="en-US" dirty="0">
                <a:solidFill>
                  <a:srgbClr val="0070F2"/>
                </a:solidFill>
              </a:rPr>
              <a:t>KI-</a:t>
            </a:r>
            <a:r>
              <a:rPr lang="en-US" dirty="0" err="1">
                <a:solidFill>
                  <a:srgbClr val="0070F2"/>
                </a:solidFill>
              </a:rPr>
              <a:t>unterstützte</a:t>
            </a:r>
            <a:r>
              <a:rPr lang="en-US" dirty="0">
                <a:solidFill>
                  <a:srgbClr val="0070F2"/>
                </a:solidFill>
              </a:rPr>
              <a:t> Q&amp;As</a:t>
            </a:r>
          </a:p>
        </p:txBody>
      </p:sp>
      <p:pic>
        <p:nvPicPr>
          <p:cNvPr id="42" name="Graphic 41" descr="Questions with solid fill">
            <a:extLst>
              <a:ext uri="{FF2B5EF4-FFF2-40B4-BE49-F238E27FC236}">
                <a16:creationId xmlns:a16="http://schemas.microsoft.com/office/drawing/2014/main" id="{08A292A6-D05C-4A4C-E84A-4D5DF8C881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55648" y="1309114"/>
            <a:ext cx="521207" cy="521207"/>
          </a:xfrm>
          <a:prstGeom prst="rect">
            <a:avLst/>
          </a:prstGeom>
        </p:spPr>
      </p:pic>
      <p:sp>
        <p:nvSpPr>
          <p:cNvPr id="7" name="TextBox 6">
            <a:extLst>
              <a:ext uri="{FF2B5EF4-FFF2-40B4-BE49-F238E27FC236}">
                <a16:creationId xmlns:a16="http://schemas.microsoft.com/office/drawing/2014/main" id="{E3F0C46C-B0E6-1EA8-90A3-536501A6BAC6}"/>
              </a:ext>
            </a:extLst>
          </p:cNvPr>
          <p:cNvSpPr txBox="1"/>
          <p:nvPr/>
        </p:nvSpPr>
        <p:spPr>
          <a:xfrm>
            <a:off x="8051377" y="857340"/>
            <a:ext cx="1907208" cy="369332"/>
          </a:xfrm>
          <a:prstGeom prst="rect">
            <a:avLst/>
          </a:prstGeom>
          <a:noFill/>
        </p:spPr>
        <p:txBody>
          <a:bodyPr wrap="none" lIns="180000" rIns="180000">
            <a:spAutoFit/>
          </a:bodyPr>
          <a:lstStyle/>
          <a:p>
            <a:r>
              <a:rPr lang="en-GB" sz="1800" b="1" dirty="0">
                <a:solidFill>
                  <a:schemeClr val="accent6">
                    <a:lumMod val="50000"/>
                  </a:schemeClr>
                </a:solidFill>
                <a:latin typeface="72 Brand" panose="020B0504030603020204" pitchFamily="34" charset="0"/>
              </a:rPr>
              <a:t>Work Smarter</a:t>
            </a:r>
          </a:p>
        </p:txBody>
      </p:sp>
      <p:pic>
        <p:nvPicPr>
          <p:cNvPr id="24" name="Picture 23" descr="A person wearing glasses and a blue shirt&#10;&#10;Description automatically generated">
            <a:extLst>
              <a:ext uri="{FF2B5EF4-FFF2-40B4-BE49-F238E27FC236}">
                <a16:creationId xmlns:a16="http://schemas.microsoft.com/office/drawing/2014/main" id="{7A00A952-DD66-AAC3-0560-22D6D7D3D0A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32547" y="3616529"/>
            <a:ext cx="846776" cy="914400"/>
          </a:xfrm>
          <a:prstGeom prst="rect">
            <a:avLst/>
          </a:prstGeom>
        </p:spPr>
      </p:pic>
    </p:spTree>
    <p:extLst>
      <p:ext uri="{BB962C8B-B14F-4D97-AF65-F5344CB8AC3E}">
        <p14:creationId xmlns:p14="http://schemas.microsoft.com/office/powerpoint/2010/main" val="2224405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6062F5-E768-088E-6246-55B0A029A437}"/>
            </a:ext>
          </a:extLst>
        </p:cNvPr>
        <p:cNvGrpSpPr/>
        <p:nvPr/>
      </p:nvGrpSpPr>
      <p:grpSpPr>
        <a:xfrm>
          <a:off x="0" y="0"/>
          <a:ext cx="0" cy="0"/>
          <a:chOff x="0" y="0"/>
          <a:chExt cx="0" cy="0"/>
        </a:xfrm>
      </p:grpSpPr>
      <p:pic>
        <p:nvPicPr>
          <p:cNvPr id="38" name="Graphic 37" descr="Good Inventory with solid fill">
            <a:extLst>
              <a:ext uri="{FF2B5EF4-FFF2-40B4-BE49-F238E27FC236}">
                <a16:creationId xmlns:a16="http://schemas.microsoft.com/office/drawing/2014/main" id="{CADA1643-D58C-22AF-9F3F-4730F3A659C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55648" y="1274082"/>
            <a:ext cx="521207" cy="521207"/>
          </a:xfrm>
          <a:prstGeom prst="rect">
            <a:avLst/>
          </a:prstGeom>
        </p:spPr>
      </p:pic>
      <p:sp>
        <p:nvSpPr>
          <p:cNvPr id="2" name="TextBox 1">
            <a:extLst>
              <a:ext uri="{FF2B5EF4-FFF2-40B4-BE49-F238E27FC236}">
                <a16:creationId xmlns:a16="http://schemas.microsoft.com/office/drawing/2014/main" id="{BBEE1DE0-C7D5-319B-3E00-2BAD4E15671C}"/>
              </a:ext>
            </a:extLst>
          </p:cNvPr>
          <p:cNvSpPr txBox="1"/>
          <p:nvPr/>
        </p:nvSpPr>
        <p:spPr>
          <a:xfrm>
            <a:off x="496487" y="1354277"/>
            <a:ext cx="1367624" cy="430887"/>
          </a:xfrm>
          <a:prstGeom prst="rect">
            <a:avLst/>
          </a:prstGeom>
          <a:noFill/>
        </p:spPr>
        <p:txBody>
          <a:bodyPr wrap="square" lIns="0" tIns="0" rIns="0" bIns="0" rtlCol="0">
            <a:spAutoFit/>
          </a:bodyPr>
          <a:lstStyle>
            <a:defPPr>
              <a:defRPr lang="de-DE"/>
            </a:defPPr>
            <a:lvl1pPr defTabSz="914400">
              <a:defRPr sz="2400" b="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defRPr>
            </a:lvl1pPr>
          </a:lstStyle>
          <a:p>
            <a:r>
              <a:rPr lang="en-US" sz="2800">
                <a:solidFill>
                  <a:schemeClr val="accent6">
                    <a:lumMod val="50000"/>
                  </a:schemeClr>
                </a:solidFill>
              </a:rPr>
              <a:t>60%</a:t>
            </a:r>
          </a:p>
        </p:txBody>
      </p:sp>
      <p:sp>
        <p:nvSpPr>
          <p:cNvPr id="3" name="TextBox 2">
            <a:extLst>
              <a:ext uri="{FF2B5EF4-FFF2-40B4-BE49-F238E27FC236}">
                <a16:creationId xmlns:a16="http://schemas.microsoft.com/office/drawing/2014/main" id="{A8BDC941-FA3A-D129-4A73-CF56FA611C76}"/>
              </a:ext>
            </a:extLst>
          </p:cNvPr>
          <p:cNvSpPr txBox="1"/>
          <p:nvPr/>
        </p:nvSpPr>
        <p:spPr>
          <a:xfrm>
            <a:off x="1398944" y="1415831"/>
            <a:ext cx="1923134" cy="461665"/>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Weniger Zeitaufwand für die Vorbereitung und das Schreiben persönlicher Entwicklungsziele **</a:t>
            </a:r>
            <a:endParaRPr lang="en-US" sz="1000" kern="0" baseline="30000" dirty="0">
              <a:latin typeface="72 Brand" panose="020B0504030603020204" pitchFamily="34" charset="0"/>
              <a:ea typeface="72 Brand" pitchFamily="34" charset="-128"/>
              <a:cs typeface="72 Brand" pitchFamily="34" charset="-128"/>
            </a:endParaRPr>
          </a:p>
        </p:txBody>
      </p:sp>
      <p:cxnSp>
        <p:nvCxnSpPr>
          <p:cNvPr id="4" name="Straight Connector 3">
            <a:extLst>
              <a:ext uri="{FF2B5EF4-FFF2-40B4-BE49-F238E27FC236}">
                <a16:creationId xmlns:a16="http://schemas.microsoft.com/office/drawing/2014/main" id="{DD075621-2A1D-7723-B012-A396D9594724}"/>
              </a:ext>
            </a:extLst>
          </p:cNvPr>
          <p:cNvCxnSpPr>
            <a:cxnSpLocks/>
          </p:cNvCxnSpPr>
          <p:nvPr/>
        </p:nvCxnSpPr>
        <p:spPr>
          <a:xfrm>
            <a:off x="3379308" y="1160526"/>
            <a:ext cx="0" cy="735496"/>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48E79C7-1F88-4901-5080-B0E454D66CD0}"/>
              </a:ext>
            </a:extLst>
          </p:cNvPr>
          <p:cNvSpPr txBox="1"/>
          <p:nvPr/>
        </p:nvSpPr>
        <p:spPr>
          <a:xfrm>
            <a:off x="4339634" y="1386782"/>
            <a:ext cx="2768825" cy="153888"/>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1000" kern="0" dirty="0" err="1">
                <a:latin typeface="72 Brand" panose="020B0504030603020204" pitchFamily="34" charset="0"/>
                <a:ea typeface="72 Brand" pitchFamily="34" charset="-128"/>
                <a:cs typeface="72 Brand" pitchFamily="34" charset="-128"/>
              </a:rPr>
              <a:t>Höhere</a:t>
            </a:r>
            <a:r>
              <a:rPr lang="en-US" sz="1000" kern="0" dirty="0">
                <a:latin typeface="72 Brand" panose="020B0504030603020204" pitchFamily="34" charset="0"/>
                <a:ea typeface="72 Brand" pitchFamily="34" charset="-128"/>
                <a:cs typeface="72 Brand" pitchFamily="34" charset="-128"/>
              </a:rPr>
              <a:t> </a:t>
            </a:r>
            <a:r>
              <a:rPr lang="en-US" sz="1000" kern="0" dirty="0" err="1">
                <a:latin typeface="72 Brand" panose="020B0504030603020204" pitchFamily="34" charset="0"/>
                <a:ea typeface="72 Brand" pitchFamily="34" charset="-128"/>
                <a:cs typeface="72 Brand" pitchFamily="34" charset="-128"/>
              </a:rPr>
              <a:t>Mitarbeiterproduktivität</a:t>
            </a:r>
            <a:endParaRPr lang="en-US" sz="1000" kern="0" dirty="0">
              <a:latin typeface="72 Brand" panose="020B0504030603020204" pitchFamily="34" charset="0"/>
              <a:ea typeface="72 Brand" pitchFamily="34" charset="-128"/>
              <a:cs typeface="72 Brand" pitchFamily="34" charset="-128"/>
            </a:endParaRPr>
          </a:p>
        </p:txBody>
      </p:sp>
      <p:sp>
        <p:nvSpPr>
          <p:cNvPr id="10" name="Rectangle 9">
            <a:extLst>
              <a:ext uri="{FF2B5EF4-FFF2-40B4-BE49-F238E27FC236}">
                <a16:creationId xmlns:a16="http://schemas.microsoft.com/office/drawing/2014/main" id="{FB023345-1023-C435-ACFE-9563857A14E1}"/>
              </a:ext>
            </a:extLst>
          </p:cNvPr>
          <p:cNvSpPr/>
          <p:nvPr/>
        </p:nvSpPr>
        <p:spPr bwMode="gray">
          <a:xfrm>
            <a:off x="8186238" y="4775132"/>
            <a:ext cx="3510276" cy="1187972"/>
          </a:xfrm>
          <a:prstGeom prst="rect">
            <a:avLst/>
          </a:prstGeom>
          <a:solidFill>
            <a:schemeClr val="accent6">
              <a:lumMod val="20000"/>
              <a:lumOff val="80000"/>
            </a:schemeClr>
          </a:solidFill>
          <a:ln>
            <a:no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E9ECEE"/>
              </a:solidFill>
              <a:latin typeface="Aptos" panose="02110004020202020204"/>
            </a:endParaRPr>
          </a:p>
        </p:txBody>
      </p:sp>
      <p:sp>
        <p:nvSpPr>
          <p:cNvPr id="12" name="TextBox 11">
            <a:extLst>
              <a:ext uri="{FF2B5EF4-FFF2-40B4-BE49-F238E27FC236}">
                <a16:creationId xmlns:a16="http://schemas.microsoft.com/office/drawing/2014/main" id="{4226F8CD-2AED-B9EB-72B1-6DA556AFBA51}"/>
              </a:ext>
            </a:extLst>
          </p:cNvPr>
          <p:cNvSpPr txBox="1"/>
          <p:nvPr/>
        </p:nvSpPr>
        <p:spPr>
          <a:xfrm>
            <a:off x="8186238" y="4351196"/>
            <a:ext cx="556243" cy="1477328"/>
          </a:xfrm>
          <a:prstGeom prst="rect">
            <a:avLst/>
          </a:prstGeom>
          <a:noFill/>
        </p:spPr>
        <p:txBody>
          <a:bodyPr wrap="none" lIns="0" tIns="0" rIns="0" bIns="0" rtlCol="0">
            <a:spAutoFit/>
          </a:bodyPr>
          <a:lstStyle/>
          <a:p>
            <a:pPr algn="ctr" defTabSz="912539" eaLnBrk="0" fontAlgn="base" hangingPunct="0">
              <a:spcBef>
                <a:spcPct val="0"/>
              </a:spcBef>
              <a:spcAft>
                <a:spcPct val="0"/>
              </a:spcAft>
              <a:defRPr/>
            </a:pPr>
            <a:r>
              <a:rPr lang="en-US" sz="9600" b="1">
                <a:solidFill>
                  <a:schemeClr val="accent6">
                    <a:lumMod val="40000"/>
                    <a:lumOff val="60000"/>
                  </a:schemeClr>
                </a:solidFill>
                <a:latin typeface="72 Brand" panose="020B0504030603020204" pitchFamily="34" charset="0"/>
              </a:rPr>
              <a:t>“</a:t>
            </a:r>
          </a:p>
        </p:txBody>
      </p:sp>
      <p:sp>
        <p:nvSpPr>
          <p:cNvPr id="21" name="TextBox 20">
            <a:extLst>
              <a:ext uri="{FF2B5EF4-FFF2-40B4-BE49-F238E27FC236}">
                <a16:creationId xmlns:a16="http://schemas.microsoft.com/office/drawing/2014/main" id="{BBF67E15-A979-B077-B233-5B2F7B851C36}"/>
              </a:ext>
            </a:extLst>
          </p:cNvPr>
          <p:cNvSpPr txBox="1"/>
          <p:nvPr/>
        </p:nvSpPr>
        <p:spPr>
          <a:xfrm>
            <a:off x="8334477" y="4849071"/>
            <a:ext cx="3296675" cy="992964"/>
          </a:xfrm>
          <a:prstGeom prst="rect">
            <a:avLst/>
          </a:prstGeom>
          <a:noFill/>
        </p:spPr>
        <p:txBody>
          <a:bodyPr wrap="square" rtlCol="0">
            <a:spAutoFit/>
          </a:bodyPr>
          <a:lstStyle/>
          <a:p>
            <a:pPr defTabSz="914126">
              <a:lnSpc>
                <a:spcPts val="1840"/>
              </a:lnSpc>
              <a:defRPr/>
            </a:pPr>
            <a:r>
              <a:rPr lang="en-US" sz="1200">
                <a:solidFill>
                  <a:srgbClr val="00144A"/>
                </a:solidFill>
                <a:latin typeface="72 Brand Book" panose="020B0404030603020204" pitchFamily="34" charset="0"/>
              </a:rPr>
              <a:t>As an employee, I want to be able to </a:t>
            </a:r>
            <a:r>
              <a:rPr lang="en-US" sz="1200" b="1">
                <a:solidFill>
                  <a:srgbClr val="00144A"/>
                </a:solidFill>
                <a:latin typeface="72 Brand Book" panose="020B0404030603020204" pitchFamily="34" charset="0"/>
              </a:rPr>
              <a:t>prepare my development goals effectively</a:t>
            </a:r>
            <a:r>
              <a:rPr lang="en-US" sz="1200">
                <a:solidFill>
                  <a:srgbClr val="00144A"/>
                </a:solidFill>
                <a:latin typeface="72 Brand Book" panose="020B0404030603020204" pitchFamily="34" charset="0"/>
              </a:rPr>
              <a:t>, so they measurably contribute to my own growth and my organization’s success.</a:t>
            </a:r>
          </a:p>
        </p:txBody>
      </p:sp>
      <p:sp>
        <p:nvSpPr>
          <p:cNvPr id="25" name="TextBox 6">
            <a:extLst>
              <a:ext uri="{FF2B5EF4-FFF2-40B4-BE49-F238E27FC236}">
                <a16:creationId xmlns:a16="http://schemas.microsoft.com/office/drawing/2014/main" id="{541A92D5-C8EC-C37B-331D-03D52299DCF8}"/>
              </a:ext>
            </a:extLst>
          </p:cNvPr>
          <p:cNvSpPr txBox="1"/>
          <p:nvPr/>
        </p:nvSpPr>
        <p:spPr>
          <a:xfrm>
            <a:off x="8141691" y="1237960"/>
            <a:ext cx="3403589" cy="2147142"/>
          </a:xfrm>
          <a:prstGeom prst="rect">
            <a:avLst/>
          </a:prstGeom>
          <a:noFill/>
        </p:spPr>
        <p:txBody>
          <a:bodyPr wrap="square" lIns="91392" tIns="45696" rIns="91392" bIns="45696" anchor="t">
            <a:spAutoFit/>
          </a:bodyPr>
          <a:lstStyle>
            <a:defPPr>
              <a:defRPr lang="de-DE"/>
            </a:defPPr>
            <a:lvl1pPr marL="0" algn="l" defTabSz="1088776" rtl="0" eaLnBrk="1" latinLnBrk="0" hangingPunct="1">
              <a:defRPr lang="de-DE" sz="2100" kern="1200">
                <a:solidFill>
                  <a:schemeClr val="tx1"/>
                </a:solidFill>
                <a:latin typeface="Arial"/>
                <a:ea typeface="+mn-ea"/>
                <a:cs typeface="+mn-cs"/>
              </a:defRPr>
            </a:lvl1pPr>
            <a:lvl2pPr marL="544388" algn="l" defTabSz="1088776" rtl="0" eaLnBrk="1" latinLnBrk="0" hangingPunct="1">
              <a:buClr>
                <a:srgbClr val="FDB913"/>
              </a:buClr>
              <a:buSzPct val="100000"/>
              <a:buFont typeface="wingdings"/>
              <a:buChar char=""/>
              <a:defRPr lang="de-DE" sz="2100" kern="1200">
                <a:solidFill>
                  <a:schemeClr val="tx1"/>
                </a:solidFill>
                <a:latin typeface="Arial"/>
                <a:ea typeface="+mn-ea"/>
                <a:cs typeface="+mn-cs"/>
              </a:defRPr>
            </a:lvl2pPr>
            <a:lvl3pPr marL="1088776" algn="l" defTabSz="1088776" rtl="0" eaLnBrk="1" latinLnBrk="0" hangingPunct="1">
              <a:buClr>
                <a:srgbClr val="666666"/>
              </a:buClr>
              <a:buSzPct val="80000"/>
              <a:buFont typeface="Wingdings"/>
              <a:buChar char="n"/>
              <a:defRPr lang="de-DE" sz="1700" kern="1200">
                <a:solidFill>
                  <a:schemeClr val="tx1"/>
                </a:solidFill>
                <a:latin typeface="Arial"/>
                <a:ea typeface="+mn-ea"/>
                <a:cs typeface="+mn-cs"/>
              </a:defRPr>
            </a:lvl3pPr>
            <a:lvl4pPr marL="1633164" algn="l" defTabSz="1088776" rtl="0" eaLnBrk="1" latinLnBrk="0" hangingPunct="1">
              <a:buClr>
                <a:srgbClr val="666666"/>
              </a:buClr>
              <a:buSzPct val="80000"/>
              <a:buFont typeface="Arial"/>
              <a:buChar char=""/>
              <a:defRPr lang="de-DE" sz="1400" kern="1200">
                <a:solidFill>
                  <a:schemeClr val="tx1"/>
                </a:solidFill>
                <a:latin typeface="Arial"/>
                <a:ea typeface="+mn-ea"/>
                <a:cs typeface="+mn-cs"/>
              </a:defRPr>
            </a:lvl4pPr>
            <a:lvl5pPr marL="2177552" algn="l" defTabSz="1088776" rtl="0" eaLnBrk="1" latinLnBrk="0" hangingPunct="1">
              <a:buClr>
                <a:srgbClr val="666666"/>
              </a:buClr>
              <a:buSzPct val="80000"/>
              <a:buFont typeface="Arial"/>
              <a:buChar char=""/>
              <a:defRPr lang="de-DE" sz="1200" kern="1200">
                <a:solidFill>
                  <a:schemeClr val="tx1"/>
                </a:solidFill>
                <a:latin typeface="Arial"/>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a:lstStyle>
          <a:p>
            <a:pPr defTabSz="913030">
              <a:lnSpc>
                <a:spcPts val="1840"/>
              </a:lnSpc>
              <a:spcBef>
                <a:spcPts val="200"/>
              </a:spcBef>
              <a:spcAft>
                <a:spcPct val="0"/>
              </a:spcAft>
              <a:defRPr/>
            </a:pPr>
            <a:r>
              <a:rPr lang="en-US" sz="1400" dirty="0">
                <a:solidFill>
                  <a:srgbClr val="00144A"/>
                </a:solidFill>
                <a:latin typeface="+mj-lt"/>
              </a:rPr>
              <a:t>KI-</a:t>
            </a:r>
            <a:r>
              <a:rPr lang="en-US" sz="1400" dirty="0" err="1">
                <a:solidFill>
                  <a:srgbClr val="00144A"/>
                </a:solidFill>
                <a:latin typeface="+mj-lt"/>
              </a:rPr>
              <a:t>gestützte</a:t>
            </a:r>
            <a:r>
              <a:rPr lang="en-US" sz="1400" dirty="0">
                <a:solidFill>
                  <a:srgbClr val="00144A"/>
                </a:solidFill>
                <a:latin typeface="+mj-lt"/>
              </a:rPr>
              <a:t> </a:t>
            </a:r>
            <a:r>
              <a:rPr lang="en-US" sz="1400" dirty="0" err="1">
                <a:solidFill>
                  <a:srgbClr val="00144A"/>
                </a:solidFill>
                <a:latin typeface="+mj-lt"/>
              </a:rPr>
              <a:t>Entwicklungsziele</a:t>
            </a:r>
            <a:br>
              <a:rPr lang="en-US" sz="1400" dirty="0">
                <a:solidFill>
                  <a:srgbClr val="00144A"/>
                </a:solidFill>
                <a:latin typeface="+mj-lt"/>
              </a:rPr>
            </a:br>
            <a:r>
              <a:rPr lang="de-DE" sz="1200" spc="25" dirty="0">
                <a:solidFill>
                  <a:srgbClr val="000000"/>
                </a:solidFill>
                <a:latin typeface="72 Brand Book" panose="020B0404030603020204" pitchFamily="34" charset="0"/>
                <a:cs typeface="72-Regular" panose="020B0503030000000003" pitchFamily="34" charset="0"/>
              </a:rPr>
              <a:t>nutzen Funktionen von generativer KI, um Mitarbeitenden beim Erstellen persönlicher Ziele, einschließlich Entwicklungszielen, zu helfen. Die Funktion reduziert die Zeit, die Mitarbeiter für die Erstellung ihrer Ziele aufwenden, und hilft, die Ziele im gesamten Unternehmen prägnanter, messbarer und besser aufeinander abzustimmen.</a:t>
            </a:r>
            <a:endParaRPr lang="en-US" sz="1400" spc="25" dirty="0">
              <a:solidFill>
                <a:srgbClr val="000000"/>
              </a:solidFill>
              <a:latin typeface="72 Brand Book" panose="020B0404030603020204" pitchFamily="34" charset="0"/>
              <a:cs typeface="72-Regular" panose="020B0503030000000003" pitchFamily="34" charset="0"/>
            </a:endParaRPr>
          </a:p>
        </p:txBody>
      </p:sp>
      <p:sp>
        <p:nvSpPr>
          <p:cNvPr id="26" name="TextBox 25">
            <a:extLst>
              <a:ext uri="{FF2B5EF4-FFF2-40B4-BE49-F238E27FC236}">
                <a16:creationId xmlns:a16="http://schemas.microsoft.com/office/drawing/2014/main" id="{F07ED79C-172A-08E9-ADF3-4C52C946CDB9}"/>
              </a:ext>
            </a:extLst>
          </p:cNvPr>
          <p:cNvSpPr txBox="1"/>
          <p:nvPr/>
        </p:nvSpPr>
        <p:spPr>
          <a:xfrm>
            <a:off x="8051375" y="857340"/>
            <a:ext cx="1708436" cy="369332"/>
          </a:xfrm>
          <a:prstGeom prst="rect">
            <a:avLst/>
          </a:prstGeom>
          <a:noFill/>
        </p:spPr>
        <p:txBody>
          <a:bodyPr wrap="none" lIns="180000" rIns="180000">
            <a:spAutoFit/>
          </a:bodyPr>
          <a:lstStyle/>
          <a:p>
            <a:r>
              <a:rPr lang="en-GB" sz="1800" b="1" dirty="0">
                <a:solidFill>
                  <a:schemeClr val="accent6">
                    <a:lumMod val="50000"/>
                  </a:schemeClr>
                </a:solidFill>
                <a:latin typeface="72 Brand" panose="020B0504030603020204" pitchFamily="34" charset="0"/>
              </a:rPr>
              <a:t>Work Faster</a:t>
            </a:r>
          </a:p>
        </p:txBody>
      </p:sp>
      <p:sp>
        <p:nvSpPr>
          <p:cNvPr id="34" name="TextBox 3">
            <a:extLst>
              <a:ext uri="{FF2B5EF4-FFF2-40B4-BE49-F238E27FC236}">
                <a16:creationId xmlns:a16="http://schemas.microsoft.com/office/drawing/2014/main" id="{87638B88-8CDF-6FAE-4BAE-199FE6E51969}"/>
              </a:ext>
            </a:extLst>
          </p:cNvPr>
          <p:cNvSpPr txBox="1"/>
          <p:nvPr/>
        </p:nvSpPr>
        <p:spPr>
          <a:xfrm>
            <a:off x="496487" y="6290939"/>
            <a:ext cx="3200642" cy="107722"/>
          </a:xfrm>
          <a:prstGeom prst="rect">
            <a:avLst/>
          </a:prstGeom>
          <a:noFill/>
        </p:spPr>
        <p:txBody>
          <a:bodyPr wrap="square" lIns="0" tIns="0" rIns="0" bIns="0" rtlCol="0">
            <a:spAutoFit/>
          </a:bodyPr>
          <a:lstStyle/>
          <a:p>
            <a:pPr algn="l" fontAlgn="base">
              <a:spcBef>
                <a:spcPct val="50000"/>
              </a:spcBef>
              <a:spcAft>
                <a:spcPct val="0"/>
              </a:spcAft>
              <a:buClr>
                <a:schemeClr val="tx1"/>
              </a:buClr>
              <a:buSzPct val="100000"/>
            </a:pPr>
            <a:r>
              <a:rPr lang="en-US" sz="700" kern="0">
                <a:latin typeface="72 Brand" panose="020B0504030603020204" pitchFamily="34" charset="0"/>
                <a:ea typeface="72 Brand" pitchFamily="34" charset="-128"/>
                <a:cs typeface="72 Brand" pitchFamily="34" charset="-128"/>
              </a:rPr>
              <a:t>** Source: SAP internal research, October 2024.</a:t>
            </a:r>
          </a:p>
        </p:txBody>
      </p:sp>
      <p:cxnSp>
        <p:nvCxnSpPr>
          <p:cNvPr id="35" name="Straight Connector 34">
            <a:extLst>
              <a:ext uri="{FF2B5EF4-FFF2-40B4-BE49-F238E27FC236}">
                <a16:creationId xmlns:a16="http://schemas.microsoft.com/office/drawing/2014/main" id="{126F52C1-1F20-C407-B146-EB5B1D629711}"/>
              </a:ext>
            </a:extLst>
          </p:cNvPr>
          <p:cNvCxnSpPr/>
          <p:nvPr/>
        </p:nvCxnSpPr>
        <p:spPr>
          <a:xfrm>
            <a:off x="7816132" y="0"/>
            <a:ext cx="0" cy="6858000"/>
          </a:xfrm>
          <a:prstGeom prst="line">
            <a:avLst/>
          </a:prstGeom>
          <a:noFill/>
          <a:ln w="3175">
            <a:gradFill>
              <a:gsLst>
                <a:gs pos="20000">
                  <a:srgbClr val="1C0C6E"/>
                </a:gs>
                <a:gs pos="70000">
                  <a:srgbClr val="5D36FF"/>
                </a:gs>
                <a:gs pos="85000">
                  <a:srgbClr val="0070F2"/>
                </a:gs>
                <a:gs pos="95000">
                  <a:srgbClr val="1B90FF"/>
                </a:gs>
              </a:gsLst>
              <a:lin ang="5400000" scaled="1"/>
            </a:gradFill>
          </a:ln>
          <a:effectLst/>
        </p:spPr>
        <p:style>
          <a:lnRef idx="1">
            <a:schemeClr val="accent1"/>
          </a:lnRef>
          <a:fillRef idx="0">
            <a:schemeClr val="accent1"/>
          </a:fillRef>
          <a:effectRef idx="0">
            <a:schemeClr val="accent1"/>
          </a:effectRef>
          <a:fontRef idx="minor">
            <a:schemeClr val="tx1"/>
          </a:fontRef>
        </p:style>
      </p:cxnSp>
      <p:sp>
        <p:nvSpPr>
          <p:cNvPr id="37" name="Title 36">
            <a:extLst>
              <a:ext uri="{FF2B5EF4-FFF2-40B4-BE49-F238E27FC236}">
                <a16:creationId xmlns:a16="http://schemas.microsoft.com/office/drawing/2014/main" id="{3952E3DA-60AD-4C3D-A45C-CEE7CEBC2E69}"/>
              </a:ext>
            </a:extLst>
          </p:cNvPr>
          <p:cNvSpPr>
            <a:spLocks noGrp="1"/>
          </p:cNvSpPr>
          <p:nvPr>
            <p:ph type="title"/>
          </p:nvPr>
        </p:nvSpPr>
        <p:spPr/>
        <p:txBody>
          <a:bodyPr/>
          <a:lstStyle/>
          <a:p>
            <a:r>
              <a:rPr lang="en-US" dirty="0">
                <a:solidFill>
                  <a:srgbClr val="0070F2"/>
                </a:solidFill>
              </a:rPr>
              <a:t>KI-</a:t>
            </a:r>
            <a:r>
              <a:rPr lang="en-US" dirty="0" err="1">
                <a:solidFill>
                  <a:srgbClr val="0070F2"/>
                </a:solidFill>
              </a:rPr>
              <a:t>unterstützte</a:t>
            </a:r>
            <a:r>
              <a:rPr lang="en-US" dirty="0">
                <a:solidFill>
                  <a:srgbClr val="0070F2"/>
                </a:solidFill>
              </a:rPr>
              <a:t> </a:t>
            </a:r>
            <a:r>
              <a:rPr lang="en-US" dirty="0" err="1">
                <a:solidFill>
                  <a:srgbClr val="0070F2"/>
                </a:solidFill>
              </a:rPr>
              <a:t>Entwicklungsziele</a:t>
            </a:r>
            <a:endParaRPr lang="en-US" dirty="0">
              <a:solidFill>
                <a:srgbClr val="0070F2"/>
              </a:solidFill>
            </a:endParaRPr>
          </a:p>
        </p:txBody>
      </p:sp>
      <p:grpSp>
        <p:nvGrpSpPr>
          <p:cNvPr id="7" name="Group 6">
            <a:extLst>
              <a:ext uri="{FF2B5EF4-FFF2-40B4-BE49-F238E27FC236}">
                <a16:creationId xmlns:a16="http://schemas.microsoft.com/office/drawing/2014/main" id="{746429DB-75E8-0ADD-38D4-685F63C15E8F}"/>
              </a:ext>
            </a:extLst>
          </p:cNvPr>
          <p:cNvGrpSpPr/>
          <p:nvPr/>
        </p:nvGrpSpPr>
        <p:grpSpPr>
          <a:xfrm>
            <a:off x="8226947" y="3857161"/>
            <a:ext cx="1961148" cy="673768"/>
            <a:chOff x="9398522" y="1957898"/>
            <a:chExt cx="1961148" cy="673768"/>
          </a:xfrm>
        </p:grpSpPr>
        <p:grpSp>
          <p:nvGrpSpPr>
            <p:cNvPr id="16" name="Group 15">
              <a:extLst>
                <a:ext uri="{FF2B5EF4-FFF2-40B4-BE49-F238E27FC236}">
                  <a16:creationId xmlns:a16="http://schemas.microsoft.com/office/drawing/2014/main" id="{3FD2E253-D1BF-A4B4-C0B5-3ED7CBBF6BDE}"/>
                </a:ext>
              </a:extLst>
            </p:cNvPr>
            <p:cNvGrpSpPr/>
            <p:nvPr/>
          </p:nvGrpSpPr>
          <p:grpSpPr>
            <a:xfrm>
              <a:off x="10612350" y="2071548"/>
              <a:ext cx="747320" cy="446467"/>
              <a:chOff x="1248656" y="655506"/>
              <a:chExt cx="747320" cy="446467"/>
            </a:xfrm>
          </p:grpSpPr>
          <p:sp>
            <p:nvSpPr>
              <p:cNvPr id="22" name="TextBox 21">
                <a:extLst>
                  <a:ext uri="{FF2B5EF4-FFF2-40B4-BE49-F238E27FC236}">
                    <a16:creationId xmlns:a16="http://schemas.microsoft.com/office/drawing/2014/main" id="{46BE9012-4026-B595-B2B0-1A5D1BCA0D42}"/>
                  </a:ext>
                </a:extLst>
              </p:cNvPr>
              <p:cNvSpPr txBox="1"/>
              <p:nvPr/>
            </p:nvSpPr>
            <p:spPr>
              <a:xfrm>
                <a:off x="1248656" y="655506"/>
                <a:ext cx="747320" cy="246221"/>
              </a:xfrm>
              <a:prstGeom prst="rect">
                <a:avLst/>
              </a:prstGeom>
              <a:noFill/>
            </p:spPr>
            <p:txBody>
              <a:bodyPr wrap="none">
                <a:spAutoFit/>
              </a:bodyPr>
              <a:lstStyle/>
              <a:p>
                <a:pPr defTabSz="1088449">
                  <a:defRPr/>
                </a:pPr>
                <a:r>
                  <a:rPr lang="en-US" sz="1000">
                    <a:solidFill>
                      <a:srgbClr val="1C0C6D"/>
                    </a:solidFill>
                    <a:latin typeface="72 Brand Book" panose="020B0404030603020204" pitchFamily="34" charset="0"/>
                  </a:rPr>
                  <a:t>Employee</a:t>
                </a:r>
              </a:p>
            </p:txBody>
          </p:sp>
          <p:sp>
            <p:nvSpPr>
              <p:cNvPr id="23" name="TextBox 22">
                <a:extLst>
                  <a:ext uri="{FF2B5EF4-FFF2-40B4-BE49-F238E27FC236}">
                    <a16:creationId xmlns:a16="http://schemas.microsoft.com/office/drawing/2014/main" id="{6EF1A9ED-6C59-D4A7-BF38-F164810980CF}"/>
                  </a:ext>
                </a:extLst>
              </p:cNvPr>
              <p:cNvSpPr txBox="1"/>
              <p:nvPr/>
            </p:nvSpPr>
            <p:spPr>
              <a:xfrm>
                <a:off x="1248656" y="855752"/>
                <a:ext cx="675185" cy="246221"/>
              </a:xfrm>
              <a:prstGeom prst="rect">
                <a:avLst/>
              </a:prstGeom>
              <a:noFill/>
            </p:spPr>
            <p:txBody>
              <a:bodyPr wrap="none">
                <a:spAutoFit/>
              </a:bodyPr>
              <a:lstStyle/>
              <a:p>
                <a:pPr>
                  <a:defRPr/>
                </a:pPr>
                <a:r>
                  <a:rPr lang="en-US" sz="1000" b="1">
                    <a:latin typeface="72 Brand" panose="020B0504030603020204" pitchFamily="34" charset="0"/>
                  </a:rPr>
                  <a:t>Michael</a:t>
                </a:r>
              </a:p>
            </p:txBody>
          </p:sp>
        </p:grpSp>
        <p:pic>
          <p:nvPicPr>
            <p:cNvPr id="17" name="Picture Placeholder 2">
              <a:extLst>
                <a:ext uri="{FF2B5EF4-FFF2-40B4-BE49-F238E27FC236}">
                  <a16:creationId xmlns:a16="http://schemas.microsoft.com/office/drawing/2014/main" id="{FD0FB68E-DD46-790E-DD30-F419E26C4D4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l="305" r="305"/>
            <a:stretch/>
          </p:blipFill>
          <p:spPr>
            <a:xfrm>
              <a:off x="9398522" y="1957898"/>
              <a:ext cx="1360699" cy="673768"/>
            </a:xfrm>
            <a:custGeom>
              <a:avLst/>
              <a:gdLst>
                <a:gd name="connsiteX0" fmla="*/ 0 w 10175875"/>
                <a:gd name="connsiteY0" fmla="*/ 0 h 5038725"/>
                <a:gd name="connsiteX1" fmla="*/ 10175875 w 10175875"/>
                <a:gd name="connsiteY1" fmla="*/ 0 h 5038725"/>
                <a:gd name="connsiteX2" fmla="*/ 10175875 w 10175875"/>
                <a:gd name="connsiteY2" fmla="*/ 5038725 h 5038725"/>
                <a:gd name="connsiteX3" fmla="*/ 0 w 10175875"/>
                <a:gd name="connsiteY3" fmla="*/ 5038725 h 5038725"/>
                <a:gd name="connsiteX4" fmla="*/ 0 w 10175875"/>
                <a:gd name="connsiteY4" fmla="*/ 0 h 5038725"/>
                <a:gd name="connsiteX0" fmla="*/ 0 w 10175875"/>
                <a:gd name="connsiteY0" fmla="*/ 0 h 5038725"/>
                <a:gd name="connsiteX1" fmla="*/ 10175875 w 10175875"/>
                <a:gd name="connsiteY1" fmla="*/ 0 h 5038725"/>
                <a:gd name="connsiteX2" fmla="*/ 5186431 w 10175875"/>
                <a:gd name="connsiteY2" fmla="*/ 5018847 h 5038725"/>
                <a:gd name="connsiteX3" fmla="*/ 0 w 10175875"/>
                <a:gd name="connsiteY3" fmla="*/ 5038725 h 5038725"/>
                <a:gd name="connsiteX4" fmla="*/ 0 w 10175875"/>
                <a:gd name="connsiteY4" fmla="*/ 0 h 503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5875" h="5038725">
                  <a:moveTo>
                    <a:pt x="0" y="0"/>
                  </a:moveTo>
                  <a:lnTo>
                    <a:pt x="10175875" y="0"/>
                  </a:lnTo>
                  <a:lnTo>
                    <a:pt x="5186431" y="5018847"/>
                  </a:lnTo>
                  <a:lnTo>
                    <a:pt x="0" y="5038725"/>
                  </a:lnTo>
                  <a:lnTo>
                    <a:pt x="0" y="0"/>
                  </a:lnTo>
                  <a:close/>
                </a:path>
              </a:pathLst>
            </a:custGeom>
          </p:spPr>
        </p:pic>
      </p:grpSp>
      <p:pic>
        <p:nvPicPr>
          <p:cNvPr id="9" name="Picture 8" descr="A person wearing glasses and a blue shirt&#10;&#10;Description automatically generated">
            <a:extLst>
              <a:ext uri="{FF2B5EF4-FFF2-40B4-BE49-F238E27FC236}">
                <a16:creationId xmlns:a16="http://schemas.microsoft.com/office/drawing/2014/main" id="{DA2999E6-4E65-C5BA-9CA2-660FC8AB651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41691" y="3616529"/>
            <a:ext cx="846776" cy="914400"/>
          </a:xfrm>
          <a:prstGeom prst="rect">
            <a:avLst/>
          </a:prstGeom>
        </p:spPr>
      </p:pic>
      <p:pic>
        <p:nvPicPr>
          <p:cNvPr id="6" name="Picture 5">
            <a:extLst>
              <a:ext uri="{FF2B5EF4-FFF2-40B4-BE49-F238E27FC236}">
                <a16:creationId xmlns:a16="http://schemas.microsoft.com/office/drawing/2014/main" id="{DF2B1ECF-B85B-0A72-3C87-299DBCF764C4}"/>
              </a:ext>
            </a:extLst>
          </p:cNvPr>
          <p:cNvPicPr>
            <a:picLocks noChangeAspect="1"/>
          </p:cNvPicPr>
          <p:nvPr/>
        </p:nvPicPr>
        <p:blipFill>
          <a:blip r:embed="rId8"/>
          <a:stretch>
            <a:fillRect/>
          </a:stretch>
        </p:blipFill>
        <p:spPr>
          <a:xfrm>
            <a:off x="464399" y="2183216"/>
            <a:ext cx="7226941" cy="3645308"/>
          </a:xfrm>
          <a:prstGeom prst="rect">
            <a:avLst/>
          </a:prstGeom>
        </p:spPr>
      </p:pic>
    </p:spTree>
    <p:extLst>
      <p:ext uri="{BB962C8B-B14F-4D97-AF65-F5344CB8AC3E}">
        <p14:creationId xmlns:p14="http://schemas.microsoft.com/office/powerpoint/2010/main" val="29221668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6A4A2F-87DF-7E28-B3BF-0527A21CFA5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2C66A6-5100-65F1-5944-5A83CEBDD39E}"/>
              </a:ext>
            </a:extLst>
          </p:cNvPr>
          <p:cNvSpPr txBox="1"/>
          <p:nvPr/>
        </p:nvSpPr>
        <p:spPr>
          <a:xfrm>
            <a:off x="1098988" y="1984615"/>
            <a:ext cx="1165575" cy="246221"/>
          </a:xfrm>
          <a:prstGeom prst="rect">
            <a:avLst/>
          </a:prstGeom>
          <a:noFill/>
        </p:spPr>
        <p:txBody>
          <a:bodyPr wrap="none" lIns="0" tIns="0" rIns="0" bIns="0" rtlCol="0">
            <a:spAutoFit/>
          </a:bodyPr>
          <a:lstStyle/>
          <a:p>
            <a:pPr defTabSz="914400">
              <a:defRPr/>
            </a:pPr>
            <a:r>
              <a:rPr lang="en-US" sz="1600" b="1" dirty="0" err="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Informieren</a:t>
            </a:r>
            <a:endPar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sp>
        <p:nvSpPr>
          <p:cNvPr id="8" name="TextBox 7">
            <a:extLst>
              <a:ext uri="{FF2B5EF4-FFF2-40B4-BE49-F238E27FC236}">
                <a16:creationId xmlns:a16="http://schemas.microsoft.com/office/drawing/2014/main" id="{1ED155AC-65DC-BBA4-12A8-ED1A5958739B}"/>
              </a:ext>
            </a:extLst>
          </p:cNvPr>
          <p:cNvSpPr txBox="1"/>
          <p:nvPr/>
        </p:nvSpPr>
        <p:spPr>
          <a:xfrm>
            <a:off x="4093709" y="1984616"/>
            <a:ext cx="1063881" cy="246221"/>
          </a:xfrm>
          <a:prstGeom prst="rect">
            <a:avLst/>
          </a:prstGeom>
          <a:noFill/>
        </p:spPr>
        <p:txBody>
          <a:bodyPr wrap="none" lIns="0" tIns="0" rIns="0" bIns="0" rtlCol="0">
            <a:spAutoFit/>
          </a:bodyPr>
          <a:lstStyle/>
          <a:p>
            <a:pPr defTabSz="914400">
              <a:defRPr/>
            </a:pPr>
            <a:r>
              <a:rPr lang="en-US" sz="1600" b="1" dirty="0" err="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Navigieren</a:t>
            </a:r>
            <a:endPar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sp>
        <p:nvSpPr>
          <p:cNvPr id="9" name="TextBox 8">
            <a:extLst>
              <a:ext uri="{FF2B5EF4-FFF2-40B4-BE49-F238E27FC236}">
                <a16:creationId xmlns:a16="http://schemas.microsoft.com/office/drawing/2014/main" id="{EAA44B0C-D303-F2DB-A95F-199B9CDE66AB}"/>
              </a:ext>
            </a:extLst>
          </p:cNvPr>
          <p:cNvSpPr txBox="1"/>
          <p:nvPr/>
        </p:nvSpPr>
        <p:spPr>
          <a:xfrm>
            <a:off x="7188169" y="1984617"/>
            <a:ext cx="762709" cy="246221"/>
          </a:xfrm>
          <a:prstGeom prst="rect">
            <a:avLst/>
          </a:prstGeom>
          <a:noFill/>
        </p:spPr>
        <p:txBody>
          <a:bodyPr wrap="none" lIns="0" tIns="0" rIns="0" bIns="0" rtlCol="0">
            <a:spAutoFit/>
          </a:bodyPr>
          <a:lstStyle/>
          <a:p>
            <a:pPr defTabSz="914400">
              <a:defRPr/>
            </a:pPr>
            <a:r>
              <a:rPr lang="en-US" sz="1600" b="1" dirty="0" err="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Agieren</a:t>
            </a:r>
            <a:endPar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sp>
        <p:nvSpPr>
          <p:cNvPr id="2" name="TextBox 8">
            <a:extLst>
              <a:ext uri="{FF2B5EF4-FFF2-40B4-BE49-F238E27FC236}">
                <a16:creationId xmlns:a16="http://schemas.microsoft.com/office/drawing/2014/main" id="{91AAECA1-1327-782C-CB31-5B1DBD70DEE4}"/>
              </a:ext>
            </a:extLst>
          </p:cNvPr>
          <p:cNvSpPr txBox="1"/>
          <p:nvPr/>
        </p:nvSpPr>
        <p:spPr>
          <a:xfrm>
            <a:off x="9927692" y="1984617"/>
            <a:ext cx="1171411" cy="246221"/>
          </a:xfrm>
          <a:prstGeom prst="rect">
            <a:avLst/>
          </a:prstGeom>
          <a:noFill/>
        </p:spPr>
        <p:txBody>
          <a:bodyPr wrap="none" lIns="0" tIns="0" rIns="0" bIns="0" rtlCol="0">
            <a:spAutoFit/>
          </a:bodyPr>
          <a:lstStyle/>
          <a:p>
            <a:pPr defTabSz="914400">
              <a:defRPr/>
            </a:pPr>
            <a:r>
              <a:rPr lang="en-US" sz="1600" b="1" dirty="0" err="1">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rPr>
              <a:t>Analysieren</a:t>
            </a:r>
            <a:endParaRPr lang="en-US" sz="1600" b="1" dirty="0">
              <a:gradFill flip="none" rotWithShape="1">
                <a:gsLst>
                  <a:gs pos="85000">
                    <a:srgbClr val="0070F2"/>
                  </a:gs>
                  <a:gs pos="70000">
                    <a:srgbClr val="5D36FF"/>
                  </a:gs>
                  <a:gs pos="20000">
                    <a:srgbClr val="1C0C6E"/>
                  </a:gs>
                  <a:gs pos="95000">
                    <a:srgbClr val="1B90FF"/>
                  </a:gs>
                </a:gsLst>
                <a:lin ang="2220000" scaled="0"/>
                <a:tileRect/>
              </a:gradFill>
              <a:latin typeface="72 Brand" panose="020B0504030603020204" pitchFamily="34" charset="0"/>
            </a:endParaRPr>
          </a:p>
        </p:txBody>
      </p:sp>
      <p:pic>
        <p:nvPicPr>
          <p:cNvPr id="15" name="Picture 4" descr="A screenshot of a phone&#10;&#10;Description automatically generated">
            <a:extLst>
              <a:ext uri="{FF2B5EF4-FFF2-40B4-BE49-F238E27FC236}">
                <a16:creationId xmlns:a16="http://schemas.microsoft.com/office/drawing/2014/main" id="{BAB8B347-E0B5-0870-AD42-7B902A3DD4B6}"/>
              </a:ext>
            </a:extLst>
          </p:cNvPr>
          <p:cNvPicPr>
            <a:picLocks noChangeAspect="1"/>
          </p:cNvPicPr>
          <p:nvPr/>
        </p:nvPicPr>
        <p:blipFill>
          <a:blip r:embed="rId3"/>
          <a:stretch>
            <a:fillRect/>
          </a:stretch>
        </p:blipFill>
        <p:spPr>
          <a:xfrm>
            <a:off x="6258499" y="2306248"/>
            <a:ext cx="2622051" cy="4106060"/>
          </a:xfrm>
          <a:prstGeom prst="rect">
            <a:avLst/>
          </a:prstGeom>
        </p:spPr>
      </p:pic>
      <p:pic>
        <p:nvPicPr>
          <p:cNvPr id="16" name="Picture 5">
            <a:extLst>
              <a:ext uri="{FF2B5EF4-FFF2-40B4-BE49-F238E27FC236}">
                <a16:creationId xmlns:a16="http://schemas.microsoft.com/office/drawing/2014/main" id="{6A543935-39F0-7791-0CCA-0926A6D995D6}"/>
              </a:ext>
            </a:extLst>
          </p:cNvPr>
          <p:cNvPicPr>
            <a:picLocks noChangeAspect="1"/>
          </p:cNvPicPr>
          <p:nvPr/>
        </p:nvPicPr>
        <p:blipFill>
          <a:blip r:embed="rId4"/>
          <a:stretch>
            <a:fillRect/>
          </a:stretch>
        </p:blipFill>
        <p:spPr>
          <a:xfrm>
            <a:off x="3314625" y="2306250"/>
            <a:ext cx="2622050" cy="4106058"/>
          </a:xfrm>
          <a:prstGeom prst="rect">
            <a:avLst/>
          </a:prstGeom>
        </p:spPr>
      </p:pic>
      <p:pic>
        <p:nvPicPr>
          <p:cNvPr id="13" name="Picture 27">
            <a:extLst>
              <a:ext uri="{FF2B5EF4-FFF2-40B4-BE49-F238E27FC236}">
                <a16:creationId xmlns:a16="http://schemas.microsoft.com/office/drawing/2014/main" id="{180960B3-E9D6-C450-0F8C-DF3B25B24822}"/>
              </a:ext>
            </a:extLst>
          </p:cNvPr>
          <p:cNvPicPr>
            <a:picLocks noChangeAspect="1"/>
          </p:cNvPicPr>
          <p:nvPr/>
        </p:nvPicPr>
        <p:blipFill>
          <a:blip r:embed="rId5"/>
          <a:stretch>
            <a:fillRect/>
          </a:stretch>
        </p:blipFill>
        <p:spPr>
          <a:xfrm>
            <a:off x="9202373" y="2306252"/>
            <a:ext cx="2622050" cy="4106057"/>
          </a:xfrm>
          <a:prstGeom prst="rect">
            <a:avLst/>
          </a:prstGeom>
        </p:spPr>
      </p:pic>
      <p:sp>
        <p:nvSpPr>
          <p:cNvPr id="17" name="TextBox 1">
            <a:extLst>
              <a:ext uri="{FF2B5EF4-FFF2-40B4-BE49-F238E27FC236}">
                <a16:creationId xmlns:a16="http://schemas.microsoft.com/office/drawing/2014/main" id="{A289B144-9D7D-10E2-9440-0FABFCD9B4BF}"/>
              </a:ext>
            </a:extLst>
          </p:cNvPr>
          <p:cNvSpPr txBox="1"/>
          <p:nvPr/>
        </p:nvSpPr>
        <p:spPr>
          <a:xfrm>
            <a:off x="3202" y="665826"/>
            <a:ext cx="12188798" cy="492186"/>
          </a:xfrm>
          <a:prstGeom prst="rect">
            <a:avLst/>
          </a:prstGeom>
          <a:noFill/>
        </p:spPr>
        <p:txBody>
          <a:bodyPr wrap="square" lIns="0" tIns="0" rIns="0" bIns="0" rtlCol="0">
            <a:spAutoFit/>
          </a:bodyPr>
          <a:lstStyle>
            <a:defPPr>
              <a:defRPr lang="en-DE"/>
            </a:defPPr>
            <a:lvl1pPr>
              <a:defRPr sz="3600" b="1" spc="-70">
                <a:latin typeface="72 Brand" panose="020B0504030603020204" pitchFamily="34" charset="0"/>
                <a:cs typeface="72-Bold" panose="020B0503030000000003" pitchFamily="34" charset="0"/>
              </a:defRPr>
            </a:lvl1pPr>
          </a:lstStyle>
          <a:p>
            <a:pPr algn="ctr" defTabSz="914126" fontAlgn="base">
              <a:spcBef>
                <a:spcPct val="0"/>
              </a:spcBef>
              <a:spcAft>
                <a:spcPct val="0"/>
              </a:spcAft>
              <a:defRPr/>
            </a:pPr>
            <a:r>
              <a:rPr lang="de-DE" sz="3198" spc="0" dirty="0">
                <a:gradFill flip="none" rotWithShape="1">
                  <a:gsLst>
                    <a:gs pos="85000">
                      <a:srgbClr val="0070F2"/>
                    </a:gs>
                    <a:gs pos="70000">
                      <a:srgbClr val="5D36FF"/>
                    </a:gs>
                    <a:gs pos="20000">
                      <a:srgbClr val="1C0C6E"/>
                    </a:gs>
                    <a:gs pos="95000">
                      <a:srgbClr val="1B90FF"/>
                    </a:gs>
                  </a:gsLst>
                  <a:lin ang="2220000" scaled="0"/>
                  <a:tileRect/>
                </a:gradFill>
                <a:cs typeface="+mn-cs"/>
              </a:rPr>
              <a:t>Wie interagieren wir mit Joule?</a:t>
            </a:r>
            <a:endParaRPr lang="en-US" sz="3198" spc="0" dirty="0">
              <a:gradFill flip="none" rotWithShape="1">
                <a:gsLst>
                  <a:gs pos="85000">
                    <a:srgbClr val="0070F2"/>
                  </a:gs>
                  <a:gs pos="70000">
                    <a:srgbClr val="5D36FF"/>
                  </a:gs>
                  <a:gs pos="20000">
                    <a:srgbClr val="1C0C6E"/>
                  </a:gs>
                  <a:gs pos="95000">
                    <a:srgbClr val="1B90FF"/>
                  </a:gs>
                </a:gsLst>
                <a:lin ang="2220000" scaled="0"/>
                <a:tileRect/>
              </a:gradFill>
              <a:cs typeface="+mn-cs"/>
            </a:endParaRPr>
          </a:p>
        </p:txBody>
      </p:sp>
      <p:sp>
        <p:nvSpPr>
          <p:cNvPr id="19" name="TextBox 12">
            <a:extLst>
              <a:ext uri="{FF2B5EF4-FFF2-40B4-BE49-F238E27FC236}">
                <a16:creationId xmlns:a16="http://schemas.microsoft.com/office/drawing/2014/main" id="{2A83BDA8-7CC7-638A-70E1-C62A0FD09EB1}"/>
              </a:ext>
            </a:extLst>
          </p:cNvPr>
          <p:cNvSpPr txBox="1"/>
          <p:nvPr/>
        </p:nvSpPr>
        <p:spPr>
          <a:xfrm>
            <a:off x="5204006" y="1207158"/>
            <a:ext cx="1787220" cy="215444"/>
          </a:xfrm>
          <a:prstGeom prst="rect">
            <a:avLst/>
          </a:prstGeom>
          <a:noFill/>
        </p:spPr>
        <p:txBody>
          <a:bodyPr wrap="none" lIns="0" tIns="0" rIns="0" bIns="0" rtlCol="0">
            <a:spAutoFit/>
          </a:bodyPr>
          <a:lstStyle/>
          <a:p>
            <a:pPr algn="ctr" defTabSz="1088122">
              <a:defRPr/>
            </a:pPr>
            <a:r>
              <a:rPr lang="en-US" sz="1400" dirty="0">
                <a:solidFill>
                  <a:srgbClr val="00144A"/>
                </a:solidFill>
                <a:latin typeface="72 Brand Book" panose="020B0404030603020204" pitchFamily="34" charset="0"/>
              </a:rPr>
              <a:t>Vier </a:t>
            </a:r>
            <a:r>
              <a:rPr lang="en-US" sz="1400" dirty="0" err="1">
                <a:solidFill>
                  <a:srgbClr val="00144A"/>
                </a:solidFill>
                <a:latin typeface="72 Brand Book" panose="020B0404030603020204" pitchFamily="34" charset="0"/>
              </a:rPr>
              <a:t>Interaktionsmuster</a:t>
            </a:r>
            <a:endParaRPr lang="en-US" sz="1400" dirty="0">
              <a:solidFill>
                <a:srgbClr val="00144A"/>
              </a:solidFill>
              <a:latin typeface="72 Brand Book" panose="020B0404030603020204" pitchFamily="34" charset="0"/>
            </a:endParaRPr>
          </a:p>
        </p:txBody>
      </p:sp>
      <p:pic>
        <p:nvPicPr>
          <p:cNvPr id="4" name="Picture 3">
            <a:extLst>
              <a:ext uri="{FF2B5EF4-FFF2-40B4-BE49-F238E27FC236}">
                <a16:creationId xmlns:a16="http://schemas.microsoft.com/office/drawing/2014/main" id="{5ED307E6-B736-F328-D7BD-50A1F0516414}"/>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6160" y="2434464"/>
            <a:ext cx="2471232" cy="3952155"/>
          </a:xfrm>
          <a:prstGeom prst="rect">
            <a:avLst/>
          </a:prstGeom>
        </p:spPr>
      </p:pic>
    </p:spTree>
    <p:extLst>
      <p:ext uri="{BB962C8B-B14F-4D97-AF65-F5344CB8AC3E}">
        <p14:creationId xmlns:p14="http://schemas.microsoft.com/office/powerpoint/2010/main" val="2585303624"/>
      </p:ext>
    </p:extLst>
  </p:cSld>
  <p:clrMapOvr>
    <a:masterClrMapping/>
  </p:clrMapOvr>
  <mc:AlternateContent xmlns:mc="http://schemas.openxmlformats.org/markup-compatibility/2006" xmlns:p14="http://schemas.microsoft.com/office/powerpoint/2010/main">
    <mc:Choice Requires="p14">
      <p:transition spd="med" p14:dur="700" advTm="5000">
        <p:fade/>
      </p:transition>
    </mc:Choice>
    <mc:Fallback xmlns="">
      <p:transition spd="med" advTm="5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a:extLst>
              <a:ext uri="{FF2B5EF4-FFF2-40B4-BE49-F238E27FC236}">
                <a16:creationId xmlns:a16="http://schemas.microsoft.com/office/drawing/2014/main" id="{C4FDD4F7-1278-8EFB-EEDE-B389EA057CDB}"/>
              </a:ext>
            </a:extLst>
          </p:cNvPr>
          <p:cNvSpPr/>
          <p:nvPr/>
        </p:nvSpPr>
        <p:spPr bwMode="gray">
          <a:xfrm>
            <a:off x="729205" y="1304402"/>
            <a:ext cx="3379808" cy="5208605"/>
          </a:xfrm>
          <a:prstGeom prst="roundRect">
            <a:avLst>
              <a:gd name="adj" fmla="val 6784"/>
            </a:avLst>
          </a:prstGeom>
          <a:solidFill>
            <a:schemeClr val="bg1"/>
          </a:solidFill>
          <a:ln w="3175" algn="ctr">
            <a:solidFill>
              <a:schemeClr val="bg1">
                <a:lumMod val="85000"/>
              </a:schemeClr>
            </a:solidFill>
            <a:miter lim="800000"/>
            <a:headEnd/>
            <a:tailEnd/>
          </a:ln>
          <a:effectLst>
            <a:outerShdw blurRad="97574" dist="52071"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2" name="Title 1">
            <a:extLst>
              <a:ext uri="{FF2B5EF4-FFF2-40B4-BE49-F238E27FC236}">
                <a16:creationId xmlns:a16="http://schemas.microsoft.com/office/drawing/2014/main" id="{E814761F-672C-2C76-EDA5-618ACBD0990A}"/>
              </a:ext>
            </a:extLst>
          </p:cNvPr>
          <p:cNvSpPr>
            <a:spLocks noGrp="1"/>
          </p:cNvSpPr>
          <p:nvPr>
            <p:ph type="title"/>
          </p:nvPr>
        </p:nvSpPr>
        <p:spPr>
          <a:xfrm>
            <a:off x="504001" y="504000"/>
            <a:ext cx="11186476" cy="369332"/>
          </a:xfrm>
        </p:spPr>
        <p:txBody>
          <a:bodyPr/>
          <a:lstStyle/>
          <a:p>
            <a:r>
              <a:rPr lang="de-DE" dirty="0">
                <a:solidFill>
                  <a:srgbClr val="0070F2"/>
                </a:solidFill>
              </a:rPr>
              <a:t>Die kontinuierliche Weiterentwicklung von KI für SAP-SuccessFactors HCM </a:t>
            </a:r>
          </a:p>
        </p:txBody>
      </p:sp>
      <p:sp>
        <p:nvSpPr>
          <p:cNvPr id="33" name="Rounded Rectangle 32">
            <a:extLst>
              <a:ext uri="{FF2B5EF4-FFF2-40B4-BE49-F238E27FC236}">
                <a16:creationId xmlns:a16="http://schemas.microsoft.com/office/drawing/2014/main" id="{C2F14DB2-3C46-377F-6B01-9DBD3F8DD100}"/>
              </a:ext>
            </a:extLst>
          </p:cNvPr>
          <p:cNvSpPr/>
          <p:nvPr/>
        </p:nvSpPr>
        <p:spPr bwMode="gray">
          <a:xfrm>
            <a:off x="8089353" y="1308170"/>
            <a:ext cx="3379808" cy="5208605"/>
          </a:xfrm>
          <a:prstGeom prst="roundRect">
            <a:avLst>
              <a:gd name="adj" fmla="val 6784"/>
            </a:avLst>
          </a:prstGeom>
          <a:solidFill>
            <a:schemeClr val="bg1"/>
          </a:solidFill>
          <a:ln w="3175" algn="ctr">
            <a:solidFill>
              <a:schemeClr val="bg1">
                <a:lumMod val="85000"/>
              </a:schemeClr>
            </a:solidFill>
            <a:miter lim="800000"/>
            <a:headEnd/>
            <a:tailEnd/>
          </a:ln>
          <a:effectLst>
            <a:outerShdw blurRad="97574" dist="52071"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72 Brand" pitchFamily="34" charset="-128"/>
              <a:cs typeface="72 Brand" pitchFamily="34" charset="-128"/>
            </a:endParaRPr>
          </a:p>
        </p:txBody>
      </p:sp>
      <p:sp>
        <p:nvSpPr>
          <p:cNvPr id="12" name="Rounded Rectangle 11">
            <a:extLst>
              <a:ext uri="{FF2B5EF4-FFF2-40B4-BE49-F238E27FC236}">
                <a16:creationId xmlns:a16="http://schemas.microsoft.com/office/drawing/2014/main" id="{4D8D7C3C-2B3A-84E0-049F-553C097AEC29}"/>
              </a:ext>
            </a:extLst>
          </p:cNvPr>
          <p:cNvSpPr/>
          <p:nvPr/>
        </p:nvSpPr>
        <p:spPr bwMode="gray">
          <a:xfrm>
            <a:off x="4409279" y="1306286"/>
            <a:ext cx="3379808" cy="5208605"/>
          </a:xfrm>
          <a:prstGeom prst="roundRect">
            <a:avLst>
              <a:gd name="adj" fmla="val 6784"/>
            </a:avLst>
          </a:prstGeom>
          <a:solidFill>
            <a:schemeClr val="bg1"/>
          </a:solidFill>
          <a:ln w="3175" algn="ctr">
            <a:solidFill>
              <a:schemeClr val="bg1">
                <a:lumMod val="85000"/>
              </a:schemeClr>
            </a:solidFill>
            <a:miter lim="800000"/>
            <a:headEnd/>
            <a:tailEnd/>
          </a:ln>
          <a:effectLst>
            <a:outerShdw blurRad="97574" dist="52071" dir="2700000" algn="tl" rotWithShape="0">
              <a:prstClr val="black">
                <a:alpha val="40000"/>
              </a:prstClr>
            </a:outerShdw>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72 Brand" pitchFamily="34" charset="-128"/>
              <a:cs typeface="72 Brand" pitchFamily="34" charset="-128"/>
            </a:endParaRPr>
          </a:p>
        </p:txBody>
      </p:sp>
      <p:grpSp>
        <p:nvGrpSpPr>
          <p:cNvPr id="3" name="Group 2">
            <a:extLst>
              <a:ext uri="{FF2B5EF4-FFF2-40B4-BE49-F238E27FC236}">
                <a16:creationId xmlns:a16="http://schemas.microsoft.com/office/drawing/2014/main" id="{685E3FDA-202F-3EE7-6F28-90E01C519FAB}"/>
              </a:ext>
            </a:extLst>
          </p:cNvPr>
          <p:cNvGrpSpPr/>
          <p:nvPr/>
        </p:nvGrpSpPr>
        <p:grpSpPr>
          <a:xfrm>
            <a:off x="729205" y="1304402"/>
            <a:ext cx="3379808" cy="1695043"/>
            <a:chOff x="729205" y="1504709"/>
            <a:chExt cx="3379808" cy="1695043"/>
          </a:xfrm>
        </p:grpSpPr>
        <p:sp>
          <p:nvSpPr>
            <p:cNvPr id="5" name="Freeform 4">
              <a:extLst>
                <a:ext uri="{FF2B5EF4-FFF2-40B4-BE49-F238E27FC236}">
                  <a16:creationId xmlns:a16="http://schemas.microsoft.com/office/drawing/2014/main" id="{5ABEEC4F-791C-72E3-4A5F-52A5C950020B}"/>
                </a:ext>
              </a:extLst>
            </p:cNvPr>
            <p:cNvSpPr/>
            <p:nvPr/>
          </p:nvSpPr>
          <p:spPr bwMode="gray">
            <a:xfrm>
              <a:off x="729205" y="1504709"/>
              <a:ext cx="3379808" cy="671331"/>
            </a:xfrm>
            <a:custGeom>
              <a:avLst/>
              <a:gdLst>
                <a:gd name="connsiteX0" fmla="*/ 192919 w 3379808"/>
                <a:gd name="connsiteY0" fmla="*/ 0 h 671331"/>
                <a:gd name="connsiteX1" fmla="*/ 3186889 w 3379808"/>
                <a:gd name="connsiteY1" fmla="*/ 0 h 671331"/>
                <a:gd name="connsiteX2" fmla="*/ 3379808 w 3379808"/>
                <a:gd name="connsiteY2" fmla="*/ 192919 h 671331"/>
                <a:gd name="connsiteX3" fmla="*/ 3379808 w 3379808"/>
                <a:gd name="connsiteY3" fmla="*/ 671331 h 671331"/>
                <a:gd name="connsiteX4" fmla="*/ 0 w 3379808"/>
                <a:gd name="connsiteY4" fmla="*/ 671331 h 671331"/>
                <a:gd name="connsiteX5" fmla="*/ 0 w 3379808"/>
                <a:gd name="connsiteY5" fmla="*/ 192919 h 671331"/>
                <a:gd name="connsiteX6" fmla="*/ 192919 w 3379808"/>
                <a:gd name="connsiteY6" fmla="*/ 0 h 67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9808" h="671331">
                  <a:moveTo>
                    <a:pt x="192919" y="0"/>
                  </a:moveTo>
                  <a:lnTo>
                    <a:pt x="3186889" y="0"/>
                  </a:lnTo>
                  <a:cubicBezTo>
                    <a:pt x="3293435" y="0"/>
                    <a:pt x="3379808" y="86373"/>
                    <a:pt x="3379808" y="192919"/>
                  </a:cubicBezTo>
                  <a:lnTo>
                    <a:pt x="3379808" y="671331"/>
                  </a:lnTo>
                  <a:lnTo>
                    <a:pt x="0" y="671331"/>
                  </a:lnTo>
                  <a:lnTo>
                    <a:pt x="0" y="192919"/>
                  </a:lnTo>
                  <a:cubicBezTo>
                    <a:pt x="0" y="86373"/>
                    <a:pt x="86373" y="0"/>
                    <a:pt x="192919" y="0"/>
                  </a:cubicBezTo>
                  <a:close/>
                </a:path>
              </a:pathLst>
            </a:custGeom>
            <a:solidFill>
              <a:schemeClr val="accent6">
                <a:lumMod val="50000"/>
              </a:schemeClr>
            </a:solidFill>
            <a:ln w="25400" algn="ctr">
              <a:solidFill>
                <a:schemeClr val="accent6">
                  <a:lumMod val="50000"/>
                </a:schemeClr>
              </a:solid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6" name="Oval 5">
              <a:extLst>
                <a:ext uri="{FF2B5EF4-FFF2-40B4-BE49-F238E27FC236}">
                  <a16:creationId xmlns:a16="http://schemas.microsoft.com/office/drawing/2014/main" id="{DE24281C-93CF-EFE2-88B0-901C7FBCB643}"/>
                </a:ext>
              </a:extLst>
            </p:cNvPr>
            <p:cNvSpPr/>
            <p:nvPr/>
          </p:nvSpPr>
          <p:spPr bwMode="gray">
            <a:xfrm>
              <a:off x="1857736" y="1613221"/>
              <a:ext cx="1122745" cy="1125638"/>
            </a:xfrm>
            <a:prstGeom prst="ellipse">
              <a:avLst/>
            </a:prstGeom>
            <a:solidFill>
              <a:schemeClr val="accent6">
                <a:lumMod val="5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8" name="Oval 7">
              <a:extLst>
                <a:ext uri="{FF2B5EF4-FFF2-40B4-BE49-F238E27FC236}">
                  <a16:creationId xmlns:a16="http://schemas.microsoft.com/office/drawing/2014/main" id="{9E39A311-B6F7-2534-92FF-58F2DF91E7C8}"/>
                </a:ext>
              </a:extLst>
            </p:cNvPr>
            <p:cNvSpPr/>
            <p:nvPr/>
          </p:nvSpPr>
          <p:spPr bwMode="gray">
            <a:xfrm>
              <a:off x="1961908" y="1718840"/>
              <a:ext cx="914400" cy="914400"/>
            </a:xfrm>
            <a:prstGeom prst="ellipse">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D9C2F3EC-D610-FC99-67C1-F9984CE1C72B}"/>
                </a:ext>
              </a:extLst>
            </p:cNvPr>
            <p:cNvSpPr txBox="1"/>
            <p:nvPr/>
          </p:nvSpPr>
          <p:spPr>
            <a:xfrm>
              <a:off x="1000905" y="2891975"/>
              <a:ext cx="2181687"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2000" b="1" kern="0" dirty="0">
                  <a:solidFill>
                    <a:schemeClr val="accent6">
                      <a:lumMod val="50000"/>
                    </a:schemeClr>
                  </a:solidFill>
                  <a:latin typeface="72 Brand" panose="020B0504030603020204" pitchFamily="34" charset="0"/>
                  <a:ea typeface="72 Brand" pitchFamily="34" charset="-128"/>
                  <a:cs typeface="72 Brand" pitchFamily="34" charset="-128"/>
                </a:rPr>
                <a:t>Where we started</a:t>
              </a:r>
            </a:p>
          </p:txBody>
        </p:sp>
      </p:grpSp>
      <p:grpSp>
        <p:nvGrpSpPr>
          <p:cNvPr id="10" name="Group 9">
            <a:extLst>
              <a:ext uri="{FF2B5EF4-FFF2-40B4-BE49-F238E27FC236}">
                <a16:creationId xmlns:a16="http://schemas.microsoft.com/office/drawing/2014/main" id="{70890A8C-39AE-5A47-2094-8C15D0D6FFEA}"/>
              </a:ext>
            </a:extLst>
          </p:cNvPr>
          <p:cNvGrpSpPr/>
          <p:nvPr/>
        </p:nvGrpSpPr>
        <p:grpSpPr>
          <a:xfrm>
            <a:off x="4407683" y="1304402"/>
            <a:ext cx="3379808" cy="1695043"/>
            <a:chOff x="4407683" y="1504709"/>
            <a:chExt cx="3379808" cy="1695043"/>
          </a:xfrm>
        </p:grpSpPr>
        <p:sp>
          <p:nvSpPr>
            <p:cNvPr id="13" name="Freeform 12">
              <a:extLst>
                <a:ext uri="{FF2B5EF4-FFF2-40B4-BE49-F238E27FC236}">
                  <a16:creationId xmlns:a16="http://schemas.microsoft.com/office/drawing/2014/main" id="{F50A4524-5AEF-D95E-0EED-4800B66313AF}"/>
                </a:ext>
              </a:extLst>
            </p:cNvPr>
            <p:cNvSpPr/>
            <p:nvPr/>
          </p:nvSpPr>
          <p:spPr bwMode="gray">
            <a:xfrm>
              <a:off x="4407683" y="1504709"/>
              <a:ext cx="3379808" cy="671331"/>
            </a:xfrm>
            <a:custGeom>
              <a:avLst/>
              <a:gdLst>
                <a:gd name="connsiteX0" fmla="*/ 192919 w 3379808"/>
                <a:gd name="connsiteY0" fmla="*/ 0 h 671331"/>
                <a:gd name="connsiteX1" fmla="*/ 3186889 w 3379808"/>
                <a:gd name="connsiteY1" fmla="*/ 0 h 671331"/>
                <a:gd name="connsiteX2" fmla="*/ 3379808 w 3379808"/>
                <a:gd name="connsiteY2" fmla="*/ 192919 h 671331"/>
                <a:gd name="connsiteX3" fmla="*/ 3379808 w 3379808"/>
                <a:gd name="connsiteY3" fmla="*/ 671331 h 671331"/>
                <a:gd name="connsiteX4" fmla="*/ 0 w 3379808"/>
                <a:gd name="connsiteY4" fmla="*/ 671331 h 671331"/>
                <a:gd name="connsiteX5" fmla="*/ 0 w 3379808"/>
                <a:gd name="connsiteY5" fmla="*/ 192919 h 671331"/>
                <a:gd name="connsiteX6" fmla="*/ 192919 w 3379808"/>
                <a:gd name="connsiteY6" fmla="*/ 0 h 67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9808" h="671331">
                  <a:moveTo>
                    <a:pt x="192919" y="0"/>
                  </a:moveTo>
                  <a:lnTo>
                    <a:pt x="3186889" y="0"/>
                  </a:lnTo>
                  <a:cubicBezTo>
                    <a:pt x="3293435" y="0"/>
                    <a:pt x="3379808" y="86373"/>
                    <a:pt x="3379808" y="192919"/>
                  </a:cubicBezTo>
                  <a:lnTo>
                    <a:pt x="3379808" y="671331"/>
                  </a:lnTo>
                  <a:lnTo>
                    <a:pt x="0" y="671331"/>
                  </a:lnTo>
                  <a:lnTo>
                    <a:pt x="0" y="192919"/>
                  </a:lnTo>
                  <a:cubicBezTo>
                    <a:pt x="0" y="86373"/>
                    <a:pt x="86373" y="0"/>
                    <a:pt x="192919" y="0"/>
                  </a:cubicBezTo>
                  <a:close/>
                </a:path>
              </a:pathLst>
            </a:custGeom>
            <a:solidFill>
              <a:schemeClr val="accent6">
                <a:lumMod val="50000"/>
              </a:schemeClr>
            </a:solidFill>
            <a:ln w="25400" algn="ctr">
              <a:solidFill>
                <a:schemeClr val="accent6">
                  <a:lumMod val="50000"/>
                </a:schemeClr>
              </a:solid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14" name="Oval 13">
              <a:extLst>
                <a:ext uri="{FF2B5EF4-FFF2-40B4-BE49-F238E27FC236}">
                  <a16:creationId xmlns:a16="http://schemas.microsoft.com/office/drawing/2014/main" id="{5966999D-AE93-DA41-5C17-B143C73635AF}"/>
                </a:ext>
              </a:extLst>
            </p:cNvPr>
            <p:cNvSpPr/>
            <p:nvPr/>
          </p:nvSpPr>
          <p:spPr bwMode="gray">
            <a:xfrm>
              <a:off x="5536214" y="1613221"/>
              <a:ext cx="1122745" cy="1125638"/>
            </a:xfrm>
            <a:prstGeom prst="ellipse">
              <a:avLst/>
            </a:prstGeom>
            <a:solidFill>
              <a:schemeClr val="accent6">
                <a:lumMod val="5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15" name="Oval 14">
              <a:extLst>
                <a:ext uri="{FF2B5EF4-FFF2-40B4-BE49-F238E27FC236}">
                  <a16:creationId xmlns:a16="http://schemas.microsoft.com/office/drawing/2014/main" id="{8C379C54-7B2E-4BC9-1810-EC8E2FCA76A7}"/>
                </a:ext>
              </a:extLst>
            </p:cNvPr>
            <p:cNvSpPr/>
            <p:nvPr/>
          </p:nvSpPr>
          <p:spPr bwMode="gray">
            <a:xfrm>
              <a:off x="5640386" y="1718840"/>
              <a:ext cx="914400" cy="914400"/>
            </a:xfrm>
            <a:prstGeom prst="ellipse">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16" name="TextBox 15">
              <a:extLst>
                <a:ext uri="{FF2B5EF4-FFF2-40B4-BE49-F238E27FC236}">
                  <a16:creationId xmlns:a16="http://schemas.microsoft.com/office/drawing/2014/main" id="{46205196-3E62-2FF1-C963-4C64B0A70658}"/>
                </a:ext>
              </a:extLst>
            </p:cNvPr>
            <p:cNvSpPr txBox="1"/>
            <p:nvPr/>
          </p:nvSpPr>
          <p:spPr>
            <a:xfrm>
              <a:off x="4679383" y="2891975"/>
              <a:ext cx="2027799"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2000" b="1" kern="0" dirty="0">
                  <a:solidFill>
                    <a:schemeClr val="accent6">
                      <a:lumMod val="50000"/>
                    </a:schemeClr>
                  </a:solidFill>
                  <a:latin typeface="72 Brand" panose="020B0504030603020204" pitchFamily="34" charset="0"/>
                  <a:ea typeface="72 Brand" pitchFamily="34" charset="-128"/>
                  <a:cs typeface="72 Brand" pitchFamily="34" charset="-128"/>
                </a:rPr>
                <a:t>How we evolved</a:t>
              </a:r>
            </a:p>
          </p:txBody>
        </p:sp>
      </p:grpSp>
      <p:grpSp>
        <p:nvGrpSpPr>
          <p:cNvPr id="17" name="Group 16">
            <a:extLst>
              <a:ext uri="{FF2B5EF4-FFF2-40B4-BE49-F238E27FC236}">
                <a16:creationId xmlns:a16="http://schemas.microsoft.com/office/drawing/2014/main" id="{15971F96-4078-2F4C-6093-4292015AD2A8}"/>
              </a:ext>
            </a:extLst>
          </p:cNvPr>
          <p:cNvGrpSpPr/>
          <p:nvPr/>
        </p:nvGrpSpPr>
        <p:grpSpPr>
          <a:xfrm>
            <a:off x="8086161" y="1304402"/>
            <a:ext cx="3379808" cy="1695043"/>
            <a:chOff x="8086161" y="1504709"/>
            <a:chExt cx="3379808" cy="1695043"/>
          </a:xfrm>
        </p:grpSpPr>
        <p:sp>
          <p:nvSpPr>
            <p:cNvPr id="19" name="Freeform 18">
              <a:extLst>
                <a:ext uri="{FF2B5EF4-FFF2-40B4-BE49-F238E27FC236}">
                  <a16:creationId xmlns:a16="http://schemas.microsoft.com/office/drawing/2014/main" id="{692E0D2B-6637-6BE0-D98C-2EE82353CF7B}"/>
                </a:ext>
              </a:extLst>
            </p:cNvPr>
            <p:cNvSpPr/>
            <p:nvPr/>
          </p:nvSpPr>
          <p:spPr bwMode="gray">
            <a:xfrm>
              <a:off x="8086161" y="1504709"/>
              <a:ext cx="3379808" cy="671331"/>
            </a:xfrm>
            <a:custGeom>
              <a:avLst/>
              <a:gdLst>
                <a:gd name="connsiteX0" fmla="*/ 192919 w 3379808"/>
                <a:gd name="connsiteY0" fmla="*/ 0 h 671331"/>
                <a:gd name="connsiteX1" fmla="*/ 3186889 w 3379808"/>
                <a:gd name="connsiteY1" fmla="*/ 0 h 671331"/>
                <a:gd name="connsiteX2" fmla="*/ 3379808 w 3379808"/>
                <a:gd name="connsiteY2" fmla="*/ 192919 h 671331"/>
                <a:gd name="connsiteX3" fmla="*/ 3379808 w 3379808"/>
                <a:gd name="connsiteY3" fmla="*/ 671331 h 671331"/>
                <a:gd name="connsiteX4" fmla="*/ 0 w 3379808"/>
                <a:gd name="connsiteY4" fmla="*/ 671331 h 671331"/>
                <a:gd name="connsiteX5" fmla="*/ 0 w 3379808"/>
                <a:gd name="connsiteY5" fmla="*/ 192919 h 671331"/>
                <a:gd name="connsiteX6" fmla="*/ 192919 w 3379808"/>
                <a:gd name="connsiteY6" fmla="*/ 0 h 67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9808" h="671331">
                  <a:moveTo>
                    <a:pt x="192919" y="0"/>
                  </a:moveTo>
                  <a:lnTo>
                    <a:pt x="3186889" y="0"/>
                  </a:lnTo>
                  <a:cubicBezTo>
                    <a:pt x="3293435" y="0"/>
                    <a:pt x="3379808" y="86373"/>
                    <a:pt x="3379808" y="192919"/>
                  </a:cubicBezTo>
                  <a:lnTo>
                    <a:pt x="3379808" y="671331"/>
                  </a:lnTo>
                  <a:lnTo>
                    <a:pt x="0" y="671331"/>
                  </a:lnTo>
                  <a:lnTo>
                    <a:pt x="0" y="192919"/>
                  </a:lnTo>
                  <a:cubicBezTo>
                    <a:pt x="0" y="86373"/>
                    <a:pt x="86373" y="0"/>
                    <a:pt x="192919" y="0"/>
                  </a:cubicBezTo>
                  <a:close/>
                </a:path>
              </a:pathLst>
            </a:custGeom>
            <a:solidFill>
              <a:schemeClr val="accent6">
                <a:lumMod val="50000"/>
              </a:schemeClr>
            </a:solidFill>
            <a:ln w="25400" algn="ctr">
              <a:solidFill>
                <a:schemeClr val="accent6">
                  <a:lumMod val="50000"/>
                </a:schemeClr>
              </a:solidFill>
              <a:miter lim="800000"/>
              <a:headEnd/>
              <a:tailEnd/>
            </a:ln>
          </p:spPr>
          <p:txBody>
            <a:bodyPr wrap="square" lIns="90000" tIns="72000" rIns="90000" bIns="72000" rtlCol="0" anchor="ctr">
              <a:noAutofit/>
            </a:bodyP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20" name="Oval 19">
              <a:extLst>
                <a:ext uri="{FF2B5EF4-FFF2-40B4-BE49-F238E27FC236}">
                  <a16:creationId xmlns:a16="http://schemas.microsoft.com/office/drawing/2014/main" id="{D4E22C33-D7DF-E88B-97ED-ADFB27D0719F}"/>
                </a:ext>
              </a:extLst>
            </p:cNvPr>
            <p:cNvSpPr/>
            <p:nvPr/>
          </p:nvSpPr>
          <p:spPr bwMode="gray">
            <a:xfrm>
              <a:off x="9214692" y="1613221"/>
              <a:ext cx="1122745" cy="1125638"/>
            </a:xfrm>
            <a:prstGeom prst="ellipse">
              <a:avLst/>
            </a:prstGeom>
            <a:solidFill>
              <a:schemeClr val="accent6">
                <a:lumMod val="50000"/>
              </a:schemeClr>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21" name="Oval 20">
              <a:extLst>
                <a:ext uri="{FF2B5EF4-FFF2-40B4-BE49-F238E27FC236}">
                  <a16:creationId xmlns:a16="http://schemas.microsoft.com/office/drawing/2014/main" id="{D40EB90A-2798-8584-FDA2-6CB681506230}"/>
                </a:ext>
              </a:extLst>
            </p:cNvPr>
            <p:cNvSpPr/>
            <p:nvPr/>
          </p:nvSpPr>
          <p:spPr bwMode="gray">
            <a:xfrm>
              <a:off x="9318864" y="1718840"/>
              <a:ext cx="914400" cy="914400"/>
            </a:xfrm>
            <a:prstGeom prst="ellipse">
              <a:avLst/>
            </a:prstGeom>
            <a:solidFill>
              <a:schemeClr val="bg1"/>
            </a:solidFill>
            <a:ln w="2540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dirty="0">
                <a:ln>
                  <a:noFill/>
                </a:ln>
                <a:effectLst/>
                <a:uLnTx/>
                <a:uFillTx/>
                <a:latin typeface="+mn-lt"/>
                <a:ea typeface="Arial Unicode MS" pitchFamily="34" charset="-128"/>
                <a:cs typeface="Arial Unicode MS" pitchFamily="34" charset="-128"/>
              </a:endParaRPr>
            </a:p>
          </p:txBody>
        </p:sp>
        <p:sp>
          <p:nvSpPr>
            <p:cNvPr id="22" name="TextBox 21">
              <a:extLst>
                <a:ext uri="{FF2B5EF4-FFF2-40B4-BE49-F238E27FC236}">
                  <a16:creationId xmlns:a16="http://schemas.microsoft.com/office/drawing/2014/main" id="{FD5D24B3-BF90-B837-EB9E-8189F9D41F14}"/>
                </a:ext>
              </a:extLst>
            </p:cNvPr>
            <p:cNvSpPr txBox="1"/>
            <p:nvPr/>
          </p:nvSpPr>
          <p:spPr>
            <a:xfrm>
              <a:off x="8357861" y="2891975"/>
              <a:ext cx="2428550" cy="307777"/>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2000" b="1" kern="0" dirty="0">
                  <a:solidFill>
                    <a:schemeClr val="accent6">
                      <a:lumMod val="50000"/>
                    </a:schemeClr>
                  </a:solidFill>
                  <a:latin typeface="72 Brand" panose="020B0504030603020204" pitchFamily="34" charset="0"/>
                  <a:ea typeface="72 Brand" pitchFamily="34" charset="-128"/>
                  <a:cs typeface="72 Brand" pitchFamily="34" charset="-128"/>
                </a:rPr>
                <a:t>Where we are going</a:t>
              </a:r>
            </a:p>
          </p:txBody>
        </p:sp>
      </p:grpSp>
      <p:sp>
        <p:nvSpPr>
          <p:cNvPr id="23" name="TextBox 22">
            <a:extLst>
              <a:ext uri="{FF2B5EF4-FFF2-40B4-BE49-F238E27FC236}">
                <a16:creationId xmlns:a16="http://schemas.microsoft.com/office/drawing/2014/main" id="{0782FB8C-36EF-F069-CAD7-8D0241DCF9F1}"/>
              </a:ext>
            </a:extLst>
          </p:cNvPr>
          <p:cNvSpPr txBox="1"/>
          <p:nvPr/>
        </p:nvSpPr>
        <p:spPr>
          <a:xfrm>
            <a:off x="2302889" y="1729511"/>
            <a:ext cx="232436" cy="492443"/>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3200" kern="0" dirty="0">
                <a:latin typeface="72 Brand Medium" panose="020B0504030603020204" pitchFamily="34" charset="0"/>
                <a:ea typeface="72 Brand" pitchFamily="34" charset="-128"/>
                <a:cs typeface="72 Brand" pitchFamily="34" charset="-128"/>
              </a:rPr>
              <a:t>1</a:t>
            </a:r>
          </a:p>
        </p:txBody>
      </p:sp>
      <p:sp>
        <p:nvSpPr>
          <p:cNvPr id="24" name="TextBox 23">
            <a:extLst>
              <a:ext uri="{FF2B5EF4-FFF2-40B4-BE49-F238E27FC236}">
                <a16:creationId xmlns:a16="http://schemas.microsoft.com/office/drawing/2014/main" id="{6D6EFEEF-E3DF-047B-8936-23F598880E06}"/>
              </a:ext>
            </a:extLst>
          </p:cNvPr>
          <p:cNvSpPr txBox="1"/>
          <p:nvPr/>
        </p:nvSpPr>
        <p:spPr>
          <a:xfrm>
            <a:off x="5981367" y="1729510"/>
            <a:ext cx="232436" cy="492443"/>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3200" kern="0" dirty="0">
                <a:latin typeface="72 Brand Medium" panose="020B0504030603020204" pitchFamily="34" charset="0"/>
                <a:ea typeface="72 Brand" pitchFamily="34" charset="-128"/>
                <a:cs typeface="72 Brand" pitchFamily="34" charset="-128"/>
              </a:rPr>
              <a:t>2</a:t>
            </a:r>
          </a:p>
        </p:txBody>
      </p:sp>
      <p:sp>
        <p:nvSpPr>
          <p:cNvPr id="25" name="TextBox 24">
            <a:extLst>
              <a:ext uri="{FF2B5EF4-FFF2-40B4-BE49-F238E27FC236}">
                <a16:creationId xmlns:a16="http://schemas.microsoft.com/office/drawing/2014/main" id="{7D04D761-856B-F375-E1D1-B5C6D1226D69}"/>
              </a:ext>
            </a:extLst>
          </p:cNvPr>
          <p:cNvSpPr txBox="1"/>
          <p:nvPr/>
        </p:nvSpPr>
        <p:spPr>
          <a:xfrm>
            <a:off x="9659849" y="1733128"/>
            <a:ext cx="232436" cy="492443"/>
          </a:xfrm>
          <a:prstGeom prst="rect">
            <a:avLst/>
          </a:prstGeom>
          <a:noFill/>
        </p:spPr>
        <p:txBody>
          <a:bodyPr wrap="none" lIns="0" tIns="0" rIns="0" bIns="0" rtlCol="0">
            <a:spAutoFit/>
          </a:bodyPr>
          <a:lstStyle/>
          <a:p>
            <a:pPr algn="l" fontAlgn="base">
              <a:spcBef>
                <a:spcPct val="50000"/>
              </a:spcBef>
              <a:spcAft>
                <a:spcPct val="0"/>
              </a:spcAft>
              <a:buClr>
                <a:schemeClr val="tx1"/>
              </a:buClr>
              <a:buSzPct val="100000"/>
            </a:pPr>
            <a:r>
              <a:rPr lang="en-US" sz="3200" kern="0" dirty="0">
                <a:latin typeface="72 Brand Medium" panose="020B0504030603020204" pitchFamily="34" charset="0"/>
                <a:ea typeface="72 Brand" pitchFamily="34" charset="-128"/>
                <a:cs typeface="72 Brand" pitchFamily="34" charset="-128"/>
              </a:rPr>
              <a:t>3</a:t>
            </a:r>
          </a:p>
        </p:txBody>
      </p:sp>
      <p:sp>
        <p:nvSpPr>
          <p:cNvPr id="26" name="TextBox 25">
            <a:extLst>
              <a:ext uri="{FF2B5EF4-FFF2-40B4-BE49-F238E27FC236}">
                <a16:creationId xmlns:a16="http://schemas.microsoft.com/office/drawing/2014/main" id="{890E3DB8-4F40-E489-F314-2F023268F22C}"/>
              </a:ext>
            </a:extLst>
          </p:cNvPr>
          <p:cNvSpPr txBox="1"/>
          <p:nvPr/>
        </p:nvSpPr>
        <p:spPr>
          <a:xfrm>
            <a:off x="1000906" y="3057329"/>
            <a:ext cx="2876614" cy="1508105"/>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US" sz="1600" kern="0" dirty="0" err="1">
                <a:latin typeface="72 Brand Medium" panose="020B0504030603020204" pitchFamily="34" charset="0"/>
                <a:ea typeface="72 Brand" pitchFamily="34" charset="-128"/>
                <a:cs typeface="72 Brand" pitchFamily="34" charset="-128"/>
              </a:rPr>
              <a:t>Grundlegende</a:t>
            </a:r>
            <a:r>
              <a:rPr lang="en-US" sz="1600" kern="0" dirty="0">
                <a:latin typeface="72 Brand Medium" panose="020B0504030603020204" pitchFamily="34" charset="0"/>
                <a:ea typeface="72 Brand" pitchFamily="34" charset="-128"/>
                <a:cs typeface="72 Brand" pitchFamily="34" charset="-128"/>
              </a:rPr>
              <a:t> </a:t>
            </a:r>
            <a:br>
              <a:rPr lang="en-US" sz="1600" kern="0" dirty="0">
                <a:latin typeface="72 Brand Medium" panose="020B0504030603020204" pitchFamily="34" charset="0"/>
                <a:ea typeface="72 Brand" pitchFamily="34" charset="-128"/>
                <a:cs typeface="72 Brand" pitchFamily="34" charset="-128"/>
              </a:rPr>
            </a:br>
            <a:r>
              <a:rPr lang="en-US" sz="1600" kern="0" dirty="0">
                <a:latin typeface="72 Brand Medium" panose="020B0504030603020204" pitchFamily="34" charset="0"/>
                <a:ea typeface="72 Brand" pitchFamily="34" charset="-128"/>
                <a:cs typeface="72 Brand" pitchFamily="34" charset="-128"/>
              </a:rPr>
              <a:t>Ein- und </a:t>
            </a:r>
            <a:r>
              <a:rPr lang="en-US" sz="1600" kern="0" dirty="0" err="1">
                <a:latin typeface="72 Brand Medium" panose="020B0504030603020204" pitchFamily="34" charset="0"/>
                <a:ea typeface="72 Brand" pitchFamily="34" charset="-128"/>
                <a:cs typeface="72 Brand" pitchFamily="34" charset="-128"/>
              </a:rPr>
              <a:t>Ausgänge</a:t>
            </a:r>
            <a:endParaRPr lang="en-US" sz="1600" kern="0" dirty="0">
              <a:latin typeface="72 Brand Medium" panose="020B0504030603020204" pitchFamily="34" charset="0"/>
              <a:ea typeface="72 Brand" pitchFamily="34" charset="-128"/>
              <a:cs typeface="72 Brand" pitchFamily="34" charset="-128"/>
            </a:endParaRPr>
          </a:p>
          <a:p>
            <a:pPr fontAlgn="base">
              <a:spcBef>
                <a:spcPct val="50000"/>
              </a:spcBef>
              <a:spcAft>
                <a:spcPct val="0"/>
              </a:spcAft>
              <a:buClr>
                <a:schemeClr val="tx1"/>
              </a:buClr>
              <a:buSzPct val="100000"/>
            </a:pPr>
            <a:r>
              <a:rPr lang="de-DE" sz="1200" dirty="0">
                <a:latin typeface="72 Brand Book" panose="020B0404030603020204" pitchFamily="34" charset="0"/>
              </a:rPr>
              <a:t>Interaktion, bei der ein Benutzer eine klare und prägnante Eingabe (die Frage) bereitstellt und das KI-System eine entsprechende Ausgabe (die Antwort) generiert</a:t>
            </a:r>
            <a:endParaRPr lang="en-US" sz="1200" kern="0" dirty="0">
              <a:latin typeface="+mn-lt"/>
              <a:ea typeface="72 Brand" pitchFamily="34" charset="-128"/>
              <a:cs typeface="72 Brand" pitchFamily="34" charset="-128"/>
            </a:endParaRPr>
          </a:p>
        </p:txBody>
      </p:sp>
      <p:sp>
        <p:nvSpPr>
          <p:cNvPr id="27" name="TextBox 26">
            <a:extLst>
              <a:ext uri="{FF2B5EF4-FFF2-40B4-BE49-F238E27FC236}">
                <a16:creationId xmlns:a16="http://schemas.microsoft.com/office/drawing/2014/main" id="{0DA84EDA-7CE5-9C16-73DA-A34DDC1186A2}"/>
              </a:ext>
            </a:extLst>
          </p:cNvPr>
          <p:cNvSpPr txBox="1"/>
          <p:nvPr/>
        </p:nvSpPr>
        <p:spPr>
          <a:xfrm>
            <a:off x="4679383" y="3057329"/>
            <a:ext cx="2936759" cy="1631216"/>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US" sz="1600" kern="0" dirty="0" err="1">
                <a:latin typeface="72 Brand Medium" panose="020B0504030603020204" pitchFamily="34" charset="0"/>
              </a:rPr>
              <a:t>Verbesserter</a:t>
            </a:r>
            <a:r>
              <a:rPr lang="en-US" sz="1600" kern="0" dirty="0">
                <a:latin typeface="72 Brand Medium" panose="020B0504030603020204" pitchFamily="34" charset="0"/>
              </a:rPr>
              <a:t> </a:t>
            </a:r>
            <a:r>
              <a:rPr lang="en-US" sz="1600" kern="0" dirty="0" err="1">
                <a:latin typeface="72 Brand Medium" panose="020B0504030603020204" pitchFamily="34" charset="0"/>
              </a:rPr>
              <a:t>Kontext</a:t>
            </a:r>
            <a:endParaRPr lang="en-US" sz="1600" kern="0" dirty="0">
              <a:latin typeface="72 Brand Medium" panose="020B0504030603020204" pitchFamily="34" charset="0"/>
            </a:endParaRPr>
          </a:p>
          <a:p>
            <a:pPr fontAlgn="base">
              <a:spcBef>
                <a:spcPct val="50000"/>
              </a:spcBef>
              <a:spcAft>
                <a:spcPct val="0"/>
              </a:spcAft>
              <a:buClr>
                <a:schemeClr val="tx1"/>
              </a:buClr>
              <a:buSzPct val="100000"/>
            </a:pPr>
            <a:r>
              <a:rPr lang="de-DE" sz="1200" dirty="0">
                <a:latin typeface="72 Brand Book" panose="020B0404030603020204" pitchFamily="34" charset="0"/>
              </a:rPr>
              <a:t>Interaktion, bei der KI den Abrufprozess verfeinert, indem relevante Dokumente und Informationen effektiver identifiziert werden: Dadurch wird die Qualität der abgerufenen Inhalte verbessert und sichergestellt, dass </a:t>
            </a:r>
            <a:r>
              <a:rPr lang="de-DE" sz="1200" b="1" dirty="0">
                <a:latin typeface="72 Brand Book" panose="020B0404030603020204" pitchFamily="34" charset="0"/>
              </a:rPr>
              <a:t>die generierten Antworten auf den relevantesten Informationen basieren</a:t>
            </a:r>
            <a:r>
              <a:rPr lang="de-DE" sz="1200" dirty="0">
                <a:latin typeface="72 Brand Book" panose="020B0404030603020204" pitchFamily="34" charset="0"/>
              </a:rPr>
              <a:t>.</a:t>
            </a:r>
          </a:p>
        </p:txBody>
      </p:sp>
      <p:sp>
        <p:nvSpPr>
          <p:cNvPr id="28" name="TextBox 27">
            <a:extLst>
              <a:ext uri="{FF2B5EF4-FFF2-40B4-BE49-F238E27FC236}">
                <a16:creationId xmlns:a16="http://schemas.microsoft.com/office/drawing/2014/main" id="{04239AA9-4225-3CCC-8C6E-B6704BBFE113}"/>
              </a:ext>
            </a:extLst>
          </p:cNvPr>
          <p:cNvSpPr txBox="1"/>
          <p:nvPr/>
        </p:nvSpPr>
        <p:spPr>
          <a:xfrm>
            <a:off x="8357861" y="3057329"/>
            <a:ext cx="2912657" cy="1963807"/>
          </a:xfrm>
          <a:prstGeom prst="rect">
            <a:avLst/>
          </a:prstGeom>
          <a:noFill/>
        </p:spPr>
        <p:txBody>
          <a:bodyPr wrap="square" lIns="0" tIns="0" rIns="0" bIns="0" rtlCol="0">
            <a:spAutoFit/>
          </a:bodyPr>
          <a:lstStyle/>
          <a:p>
            <a:pPr fontAlgn="base">
              <a:spcBef>
                <a:spcPct val="50000"/>
              </a:spcBef>
              <a:spcAft>
                <a:spcPct val="0"/>
              </a:spcAft>
              <a:buClr>
                <a:schemeClr val="tx1"/>
              </a:buClr>
              <a:buSzPct val="100000"/>
            </a:pPr>
            <a:r>
              <a:rPr lang="en-US" sz="1600" kern="0" dirty="0">
                <a:latin typeface="72 Brand Medium" panose="020B0504030603020204" pitchFamily="34" charset="0"/>
              </a:rPr>
              <a:t>KI-</a:t>
            </a:r>
            <a:r>
              <a:rPr lang="en-US" sz="1600" kern="0" dirty="0" err="1">
                <a:latin typeface="72 Brand Medium" panose="020B0504030603020204" pitchFamily="34" charset="0"/>
              </a:rPr>
              <a:t>gestützte</a:t>
            </a:r>
            <a:r>
              <a:rPr lang="en-US" sz="1600" kern="0" dirty="0">
                <a:latin typeface="72 Brand Medium" panose="020B0504030603020204" pitchFamily="34" charset="0"/>
              </a:rPr>
              <a:t> </a:t>
            </a:r>
            <a:r>
              <a:rPr lang="en-US" sz="1600" kern="0" dirty="0" err="1">
                <a:latin typeface="72 Brand Medium" panose="020B0504030603020204" pitchFamily="34" charset="0"/>
              </a:rPr>
              <a:t>Agenten</a:t>
            </a:r>
            <a:endParaRPr lang="en-US" sz="1600" kern="0" dirty="0">
              <a:latin typeface="72 Brand Medium" panose="020B0504030603020204" pitchFamily="34" charset="0"/>
            </a:endParaRPr>
          </a:p>
          <a:p>
            <a:pPr fontAlgn="base">
              <a:lnSpc>
                <a:spcPts val="1640"/>
              </a:lnSpc>
              <a:spcBef>
                <a:spcPct val="50000"/>
              </a:spcBef>
              <a:spcAft>
                <a:spcPct val="0"/>
              </a:spcAft>
              <a:buClr>
                <a:schemeClr val="tx1"/>
              </a:buClr>
              <a:buSzPct val="100000"/>
            </a:pPr>
            <a:r>
              <a:rPr lang="de-DE" sz="1200" dirty="0">
                <a:latin typeface="72 Brand Book" panose="020B0404030603020204" pitchFamily="34" charset="0"/>
              </a:rPr>
              <a:t>Interaktionen, bei denen </a:t>
            </a:r>
            <a:r>
              <a:rPr lang="de-DE" sz="1200" b="1" dirty="0">
                <a:latin typeface="72 Brand Book" panose="020B0404030603020204" pitchFamily="34" charset="0"/>
              </a:rPr>
              <a:t>KI-Agenten</a:t>
            </a:r>
            <a:r>
              <a:rPr lang="de-DE" sz="1200" dirty="0">
                <a:latin typeface="72 Brand Book" panose="020B0404030603020204" pitchFamily="34" charset="0"/>
              </a:rPr>
              <a:t> basierend auf ihrem Aufgabengebiet autonom sein können: Im Gegensatz zu herkömmlichen KI können KI-Agenten den Kontext verstehen und darauf reagieren, sodass sie </a:t>
            </a:r>
            <a:r>
              <a:rPr lang="de-DE" sz="1200" b="1" dirty="0">
                <a:latin typeface="72 Brand Book" panose="020B0404030603020204" pitchFamily="34" charset="0"/>
              </a:rPr>
              <a:t>sich an sich ändernde Situationen anpassen </a:t>
            </a:r>
            <a:r>
              <a:rPr lang="de-DE" sz="1200" dirty="0">
                <a:latin typeface="72 Brand Book" panose="020B0404030603020204" pitchFamily="34" charset="0"/>
              </a:rPr>
              <a:t>und </a:t>
            </a:r>
            <a:r>
              <a:rPr lang="de-DE" sz="1200" b="1" dirty="0">
                <a:latin typeface="72 Brand Book" panose="020B0404030603020204" pitchFamily="34" charset="0"/>
              </a:rPr>
              <a:t>fundiertere Entscheidungen treffen </a:t>
            </a:r>
            <a:r>
              <a:rPr lang="de-DE" sz="1200" dirty="0">
                <a:latin typeface="72 Brand Book" panose="020B0404030603020204" pitchFamily="34" charset="0"/>
              </a:rPr>
              <a:t>können.</a:t>
            </a:r>
          </a:p>
        </p:txBody>
      </p:sp>
      <p:sp>
        <p:nvSpPr>
          <p:cNvPr id="29" name="TextBox 28">
            <a:extLst>
              <a:ext uri="{FF2B5EF4-FFF2-40B4-BE49-F238E27FC236}">
                <a16:creationId xmlns:a16="http://schemas.microsoft.com/office/drawing/2014/main" id="{A66EAF35-5320-D65B-5FEC-A62186678B6C}"/>
              </a:ext>
            </a:extLst>
          </p:cNvPr>
          <p:cNvSpPr txBox="1"/>
          <p:nvPr/>
        </p:nvSpPr>
        <p:spPr>
          <a:xfrm>
            <a:off x="843112" y="5957024"/>
            <a:ext cx="1005840" cy="461665"/>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err="1">
                <a:latin typeface="72 Brand" panose="020B0504030603020204" pitchFamily="34" charset="0"/>
                <a:ea typeface="72 Brand" pitchFamily="34" charset="-128"/>
                <a:cs typeface="72 Brand" pitchFamily="34" charset="-128"/>
              </a:rPr>
              <a:t>Erweiterung</a:t>
            </a:r>
            <a:r>
              <a:rPr lang="en-US" sz="1000" kern="0" dirty="0">
                <a:latin typeface="72 Brand" panose="020B0504030603020204" pitchFamily="34" charset="0"/>
                <a:ea typeface="72 Brand" pitchFamily="34" charset="-128"/>
                <a:cs typeface="72 Brand" pitchFamily="34" charset="-128"/>
              </a:rPr>
              <a:t> der </a:t>
            </a:r>
            <a:r>
              <a:rPr lang="en-US" sz="1000" kern="0" dirty="0" err="1">
                <a:latin typeface="72 Brand" panose="020B0504030603020204" pitchFamily="34" charset="0"/>
                <a:ea typeface="72 Brand" pitchFamily="34" charset="-128"/>
                <a:cs typeface="72 Brand" pitchFamily="34" charset="-128"/>
              </a:rPr>
              <a:t>Stellen-beschreibung</a:t>
            </a:r>
            <a:endParaRPr lang="en-US" sz="1000" kern="0" dirty="0">
              <a:latin typeface="72 Brand" panose="020B0504030603020204" pitchFamily="34" charset="0"/>
              <a:ea typeface="72 Brand" pitchFamily="34" charset="-128"/>
              <a:cs typeface="72 Brand" pitchFamily="34" charset="-128"/>
            </a:endParaRPr>
          </a:p>
        </p:txBody>
      </p:sp>
      <p:grpSp>
        <p:nvGrpSpPr>
          <p:cNvPr id="30" name="Group 29">
            <a:extLst>
              <a:ext uri="{FF2B5EF4-FFF2-40B4-BE49-F238E27FC236}">
                <a16:creationId xmlns:a16="http://schemas.microsoft.com/office/drawing/2014/main" id="{60C08ACE-E323-A287-B0C3-94C87D23F197}"/>
              </a:ext>
            </a:extLst>
          </p:cNvPr>
          <p:cNvGrpSpPr/>
          <p:nvPr/>
        </p:nvGrpSpPr>
        <p:grpSpPr>
          <a:xfrm>
            <a:off x="985814" y="5116587"/>
            <a:ext cx="720436" cy="720979"/>
            <a:chOff x="8327506" y="4923279"/>
            <a:chExt cx="720436" cy="720979"/>
          </a:xfrm>
        </p:grpSpPr>
        <p:sp>
          <p:nvSpPr>
            <p:cNvPr id="31" name="Oval 30">
              <a:extLst>
                <a:ext uri="{FF2B5EF4-FFF2-40B4-BE49-F238E27FC236}">
                  <a16:creationId xmlns:a16="http://schemas.microsoft.com/office/drawing/2014/main" id="{117F6807-25C0-5619-19B4-51996A009889}"/>
                </a:ext>
              </a:extLst>
            </p:cNvPr>
            <p:cNvSpPr/>
            <p:nvPr/>
          </p:nvSpPr>
          <p:spPr bwMode="gray">
            <a:xfrm>
              <a:off x="8327506" y="4923279"/>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32" name="Graphic 31" descr="Document with solid fill">
              <a:extLst>
                <a:ext uri="{FF2B5EF4-FFF2-40B4-BE49-F238E27FC236}">
                  <a16:creationId xmlns:a16="http://schemas.microsoft.com/office/drawing/2014/main" id="{84AA2872-E581-3A10-EEFB-0EC61EC56F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59124" y="5046068"/>
              <a:ext cx="457200" cy="457200"/>
            </a:xfrm>
            <a:prstGeom prst="rect">
              <a:avLst/>
            </a:prstGeom>
          </p:spPr>
        </p:pic>
      </p:grpSp>
      <p:cxnSp>
        <p:nvCxnSpPr>
          <p:cNvPr id="34" name="Straight Connector 33">
            <a:extLst>
              <a:ext uri="{FF2B5EF4-FFF2-40B4-BE49-F238E27FC236}">
                <a16:creationId xmlns:a16="http://schemas.microsoft.com/office/drawing/2014/main" id="{B28B11AB-7C7D-F197-5D7D-D7E028EB3D31}"/>
              </a:ext>
            </a:extLst>
          </p:cNvPr>
          <p:cNvCxnSpPr/>
          <p:nvPr/>
        </p:nvCxnSpPr>
        <p:spPr>
          <a:xfrm>
            <a:off x="1916662" y="4964257"/>
            <a:ext cx="0" cy="1423463"/>
          </a:xfrm>
          <a:prstGeom prst="line">
            <a:avLst/>
          </a:prstGeom>
          <a:ln w="6350">
            <a:solidFill>
              <a:srgbClr val="A9B4B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081B6B6B-D2D6-CFEB-0EFB-9C9E048CCBF0}"/>
              </a:ext>
            </a:extLst>
          </p:cNvPr>
          <p:cNvSpPr txBox="1"/>
          <p:nvPr/>
        </p:nvSpPr>
        <p:spPr>
          <a:xfrm>
            <a:off x="1968358" y="5865254"/>
            <a:ext cx="1005840" cy="615553"/>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de-DE" sz="1000" kern="0" dirty="0">
                <a:latin typeface="72 Brand" panose="020B0504030603020204" pitchFamily="34" charset="0"/>
                <a:ea typeface="72 Brand" pitchFamily="34" charset="-128"/>
                <a:cs typeface="72 Brand" pitchFamily="34" charset="-128"/>
              </a:rPr>
              <a:t>Generierung von Fragen für Bewerbungs-gespräche</a:t>
            </a:r>
            <a:endParaRPr lang="en-US" sz="1000" kern="0" dirty="0">
              <a:latin typeface="72 Brand" panose="020B0504030603020204" pitchFamily="34" charset="0"/>
              <a:ea typeface="72 Brand" pitchFamily="34" charset="-128"/>
              <a:cs typeface="72 Brand" pitchFamily="34" charset="-128"/>
            </a:endParaRPr>
          </a:p>
        </p:txBody>
      </p:sp>
      <p:sp>
        <p:nvSpPr>
          <p:cNvPr id="36" name="Oval 35">
            <a:extLst>
              <a:ext uri="{FF2B5EF4-FFF2-40B4-BE49-F238E27FC236}">
                <a16:creationId xmlns:a16="http://schemas.microsoft.com/office/drawing/2014/main" id="{B99C678C-0964-AD5C-39FE-6AD13309825A}"/>
              </a:ext>
            </a:extLst>
          </p:cNvPr>
          <p:cNvSpPr/>
          <p:nvPr/>
        </p:nvSpPr>
        <p:spPr bwMode="gray">
          <a:xfrm>
            <a:off x="2080775" y="5116587"/>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38" name="Graphic 37" descr="Questions with solid fill">
            <a:extLst>
              <a:ext uri="{FF2B5EF4-FFF2-40B4-BE49-F238E27FC236}">
                <a16:creationId xmlns:a16="http://schemas.microsoft.com/office/drawing/2014/main" id="{FA7912D9-8447-38D2-194D-0A51B7D6E6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66673" y="5202756"/>
            <a:ext cx="548640" cy="548640"/>
          </a:xfrm>
          <a:prstGeom prst="rect">
            <a:avLst/>
          </a:prstGeom>
        </p:spPr>
      </p:pic>
      <p:cxnSp>
        <p:nvCxnSpPr>
          <p:cNvPr id="39" name="Straight Connector 38">
            <a:extLst>
              <a:ext uri="{FF2B5EF4-FFF2-40B4-BE49-F238E27FC236}">
                <a16:creationId xmlns:a16="http://schemas.microsoft.com/office/drawing/2014/main" id="{33D080D6-BE8A-FD92-67EB-BCAD8E2272E3}"/>
              </a:ext>
            </a:extLst>
          </p:cNvPr>
          <p:cNvCxnSpPr/>
          <p:nvPr/>
        </p:nvCxnSpPr>
        <p:spPr>
          <a:xfrm>
            <a:off x="2999781" y="4964257"/>
            <a:ext cx="0" cy="1423463"/>
          </a:xfrm>
          <a:prstGeom prst="line">
            <a:avLst/>
          </a:prstGeom>
          <a:ln w="6350">
            <a:solidFill>
              <a:srgbClr val="A9B4B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FF62E1B2-00C5-0818-71AE-18033DA13F16}"/>
              </a:ext>
            </a:extLst>
          </p:cNvPr>
          <p:cNvSpPr txBox="1"/>
          <p:nvPr/>
        </p:nvSpPr>
        <p:spPr>
          <a:xfrm>
            <a:off x="3067492" y="5957024"/>
            <a:ext cx="1005840" cy="461665"/>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a:latin typeface="72 Brand" panose="020B0504030603020204" pitchFamily="34" charset="0"/>
                <a:ea typeface="72 Brand" pitchFamily="34" charset="-128"/>
                <a:cs typeface="72 Brand" pitchFamily="34" charset="-128"/>
              </a:rPr>
              <a:t>KI-</a:t>
            </a:r>
            <a:r>
              <a:rPr lang="en-US" sz="1000" kern="0" dirty="0" err="1">
                <a:latin typeface="72 Brand" panose="020B0504030603020204" pitchFamily="34" charset="0"/>
                <a:ea typeface="72 Brand" pitchFamily="34" charset="-128"/>
                <a:cs typeface="72 Brand" pitchFamily="34" charset="-128"/>
              </a:rPr>
              <a:t>gestützte</a:t>
            </a:r>
            <a:r>
              <a:rPr lang="en-US" sz="1000" kern="0" dirty="0">
                <a:latin typeface="72 Brand" panose="020B0504030603020204" pitchFamily="34" charset="0"/>
                <a:ea typeface="72 Brand" pitchFamily="34" charset="-128"/>
                <a:cs typeface="72 Brand" pitchFamily="34" charset="-128"/>
              </a:rPr>
              <a:t> </a:t>
            </a:r>
            <a:r>
              <a:rPr lang="en-US" sz="1000" kern="0" dirty="0" err="1">
                <a:latin typeface="72 Brand" panose="020B0504030603020204" pitchFamily="34" charset="0"/>
                <a:ea typeface="72 Brand" pitchFamily="34" charset="-128"/>
                <a:cs typeface="72 Brand" pitchFamily="34" charset="-128"/>
              </a:rPr>
              <a:t>Einblicke</a:t>
            </a:r>
            <a:r>
              <a:rPr lang="en-US" sz="1000" kern="0" dirty="0">
                <a:latin typeface="72 Brand" panose="020B0504030603020204" pitchFamily="34" charset="0"/>
                <a:ea typeface="72 Brand" pitchFamily="34" charset="-128"/>
                <a:cs typeface="72 Brand" pitchFamily="34" charset="-128"/>
              </a:rPr>
              <a:t>  in </a:t>
            </a:r>
            <a:r>
              <a:rPr lang="en-US" sz="1000" kern="0" dirty="0" err="1">
                <a:latin typeface="72 Brand" panose="020B0504030603020204" pitchFamily="34" charset="0"/>
                <a:ea typeface="72 Brand" pitchFamily="34" charset="-128"/>
                <a:cs typeface="72 Brand" pitchFamily="34" charset="-128"/>
              </a:rPr>
              <a:t>Personaldaten</a:t>
            </a:r>
            <a:endParaRPr lang="en-US" sz="1000" kern="0" dirty="0">
              <a:latin typeface="72 Brand" panose="020B0504030603020204" pitchFamily="34" charset="0"/>
              <a:ea typeface="72 Brand" pitchFamily="34" charset="-128"/>
              <a:cs typeface="72 Brand" pitchFamily="34" charset="-128"/>
            </a:endParaRPr>
          </a:p>
        </p:txBody>
      </p:sp>
      <p:sp>
        <p:nvSpPr>
          <p:cNvPr id="41" name="Oval 40">
            <a:extLst>
              <a:ext uri="{FF2B5EF4-FFF2-40B4-BE49-F238E27FC236}">
                <a16:creationId xmlns:a16="http://schemas.microsoft.com/office/drawing/2014/main" id="{F0BD1579-9107-3A13-35E3-35E4B3745995}"/>
              </a:ext>
            </a:extLst>
          </p:cNvPr>
          <p:cNvSpPr/>
          <p:nvPr/>
        </p:nvSpPr>
        <p:spPr bwMode="gray">
          <a:xfrm>
            <a:off x="3210194" y="5116587"/>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42" name="Graphic 41" descr="Checklist with solid fill">
            <a:extLst>
              <a:ext uri="{FF2B5EF4-FFF2-40B4-BE49-F238E27FC236}">
                <a16:creationId xmlns:a16="http://schemas.microsoft.com/office/drawing/2014/main" id="{BB6EF343-3695-3D9A-1C49-1CC8B0F459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03298" y="5202756"/>
            <a:ext cx="548640" cy="548640"/>
          </a:xfrm>
          <a:prstGeom prst="rect">
            <a:avLst/>
          </a:prstGeom>
        </p:spPr>
      </p:pic>
      <p:sp>
        <p:nvSpPr>
          <p:cNvPr id="46" name="TextBox 45">
            <a:extLst>
              <a:ext uri="{FF2B5EF4-FFF2-40B4-BE49-F238E27FC236}">
                <a16:creationId xmlns:a16="http://schemas.microsoft.com/office/drawing/2014/main" id="{0DB43835-9D3C-77B1-5513-9F5800BFBA4C}"/>
              </a:ext>
            </a:extLst>
          </p:cNvPr>
          <p:cNvSpPr txBox="1"/>
          <p:nvPr/>
        </p:nvSpPr>
        <p:spPr>
          <a:xfrm>
            <a:off x="4954586" y="5937213"/>
            <a:ext cx="1005840" cy="15388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err="1">
                <a:latin typeface="72 Brand" panose="020B0504030603020204" pitchFamily="34" charset="0"/>
                <a:ea typeface="72 Brand" pitchFamily="34" charset="-128"/>
                <a:cs typeface="72 Brand" pitchFamily="34" charset="-128"/>
              </a:rPr>
              <a:t>Verfeinerte</a:t>
            </a:r>
            <a:r>
              <a:rPr lang="en-US" sz="1000" kern="0" dirty="0">
                <a:latin typeface="72 Brand" panose="020B0504030603020204" pitchFamily="34" charset="0"/>
                <a:ea typeface="72 Brand" pitchFamily="34" charset="-128"/>
                <a:cs typeface="72 Brand" pitchFamily="34" charset="-128"/>
              </a:rPr>
              <a:t> </a:t>
            </a:r>
            <a:r>
              <a:rPr lang="en-US" sz="1000" kern="0" dirty="0" err="1">
                <a:latin typeface="72 Brand" panose="020B0504030603020204" pitchFamily="34" charset="0"/>
                <a:ea typeface="72 Brand" pitchFamily="34" charset="-128"/>
                <a:cs typeface="72 Brand" pitchFamily="34" charset="-128"/>
              </a:rPr>
              <a:t>Suche</a:t>
            </a:r>
            <a:endParaRPr lang="en-US" sz="1000" kern="0" dirty="0">
              <a:latin typeface="72 Brand" panose="020B0504030603020204" pitchFamily="34" charset="0"/>
              <a:ea typeface="72 Brand" pitchFamily="34" charset="-128"/>
              <a:cs typeface="72 Brand" pitchFamily="34" charset="-128"/>
            </a:endParaRPr>
          </a:p>
        </p:txBody>
      </p:sp>
      <p:sp>
        <p:nvSpPr>
          <p:cNvPr id="47" name="Oval 46">
            <a:extLst>
              <a:ext uri="{FF2B5EF4-FFF2-40B4-BE49-F238E27FC236}">
                <a16:creationId xmlns:a16="http://schemas.microsoft.com/office/drawing/2014/main" id="{4F820030-F6B3-0B71-FDF7-94C98D9498E2}"/>
              </a:ext>
            </a:extLst>
          </p:cNvPr>
          <p:cNvSpPr/>
          <p:nvPr/>
        </p:nvSpPr>
        <p:spPr bwMode="gray">
          <a:xfrm>
            <a:off x="5097288" y="5096776"/>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cxnSp>
        <p:nvCxnSpPr>
          <p:cNvPr id="48" name="Straight Connector 47">
            <a:extLst>
              <a:ext uri="{FF2B5EF4-FFF2-40B4-BE49-F238E27FC236}">
                <a16:creationId xmlns:a16="http://schemas.microsoft.com/office/drawing/2014/main" id="{61F8A4E2-5F25-6E39-CCB1-3FE4D644102F}"/>
              </a:ext>
            </a:extLst>
          </p:cNvPr>
          <p:cNvCxnSpPr/>
          <p:nvPr/>
        </p:nvCxnSpPr>
        <p:spPr>
          <a:xfrm>
            <a:off x="6097586" y="4944446"/>
            <a:ext cx="0" cy="1423463"/>
          </a:xfrm>
          <a:prstGeom prst="line">
            <a:avLst/>
          </a:prstGeom>
          <a:ln w="6350">
            <a:solidFill>
              <a:srgbClr val="A9B4B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D1F7EAFA-1713-25FB-B51A-C77F7BCC2BBB}"/>
              </a:ext>
            </a:extLst>
          </p:cNvPr>
          <p:cNvSpPr txBox="1"/>
          <p:nvPr/>
        </p:nvSpPr>
        <p:spPr>
          <a:xfrm>
            <a:off x="6156074" y="5927062"/>
            <a:ext cx="1280157" cy="307777"/>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a:latin typeface="72 Brand" panose="020B0504030603020204" pitchFamily="34" charset="0"/>
                <a:ea typeface="72 Brand" pitchFamily="34" charset="-128"/>
                <a:cs typeface="72 Brand" pitchFamily="34" charset="-128"/>
              </a:rPr>
              <a:t>FAQ </a:t>
            </a:r>
            <a:r>
              <a:rPr lang="en-US" sz="1000" kern="0" dirty="0" err="1">
                <a:latin typeface="72 Brand" panose="020B0504030603020204" pitchFamily="34" charset="0"/>
                <a:ea typeface="72 Brand" pitchFamily="34" charset="-128"/>
                <a:cs typeface="72 Brand" pitchFamily="34" charset="-128"/>
              </a:rPr>
              <a:t>zu</a:t>
            </a:r>
            <a:r>
              <a:rPr lang="en-US" sz="1000" kern="0" dirty="0">
                <a:latin typeface="72 Brand" panose="020B0504030603020204" pitchFamily="34" charset="0"/>
                <a:ea typeface="72 Brand" pitchFamily="34" charset="-128"/>
                <a:cs typeface="72 Brand" pitchFamily="34" charset="-128"/>
              </a:rPr>
              <a:t> HR-</a:t>
            </a:r>
            <a:r>
              <a:rPr lang="en-US" sz="1000" kern="0" dirty="0" err="1">
                <a:latin typeface="72 Brand" panose="020B0504030603020204" pitchFamily="34" charset="0"/>
                <a:ea typeface="72 Brand" pitchFamily="34" charset="-128"/>
                <a:cs typeface="72 Brand" pitchFamily="34" charset="-128"/>
              </a:rPr>
              <a:t>Richtlinien</a:t>
            </a:r>
            <a:r>
              <a:rPr lang="en-US" sz="1000" kern="0" dirty="0">
                <a:latin typeface="72 Brand" panose="020B0504030603020204" pitchFamily="34" charset="0"/>
                <a:ea typeface="72 Brand" pitchFamily="34" charset="-128"/>
                <a:cs typeface="72 Brand" pitchFamily="34" charset="-128"/>
              </a:rPr>
              <a:t> (Document grounding)</a:t>
            </a:r>
          </a:p>
        </p:txBody>
      </p:sp>
      <p:sp>
        <p:nvSpPr>
          <p:cNvPr id="50" name="Oval 49">
            <a:extLst>
              <a:ext uri="{FF2B5EF4-FFF2-40B4-BE49-F238E27FC236}">
                <a16:creationId xmlns:a16="http://schemas.microsoft.com/office/drawing/2014/main" id="{2F93D6F9-1C4B-9D74-D32A-B3CD8744024B}"/>
              </a:ext>
            </a:extLst>
          </p:cNvPr>
          <p:cNvSpPr/>
          <p:nvPr/>
        </p:nvSpPr>
        <p:spPr bwMode="gray">
          <a:xfrm>
            <a:off x="6377449" y="5096776"/>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51" name="Graphic 50" descr="Address Book with solid fill">
            <a:extLst>
              <a:ext uri="{FF2B5EF4-FFF2-40B4-BE49-F238E27FC236}">
                <a16:creationId xmlns:a16="http://schemas.microsoft.com/office/drawing/2014/main" id="{28885651-1A44-C99A-CADE-ED8C08420E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66182" y="5182945"/>
            <a:ext cx="548640" cy="548640"/>
          </a:xfrm>
          <a:prstGeom prst="rect">
            <a:avLst/>
          </a:prstGeom>
        </p:spPr>
      </p:pic>
      <p:pic>
        <p:nvPicPr>
          <p:cNvPr id="52" name="Graphic 51" descr="Magnifying glass with solid fill">
            <a:extLst>
              <a:ext uri="{FF2B5EF4-FFF2-40B4-BE49-F238E27FC236}">
                <a16:creationId xmlns:a16="http://schemas.microsoft.com/office/drawing/2014/main" id="{1A9C475F-6BEA-1DB3-06EF-785B97BF289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186021" y="5176706"/>
            <a:ext cx="548640" cy="548640"/>
          </a:xfrm>
          <a:prstGeom prst="rect">
            <a:avLst/>
          </a:prstGeom>
        </p:spPr>
      </p:pic>
      <p:sp>
        <p:nvSpPr>
          <p:cNvPr id="53" name="TextBox 52">
            <a:extLst>
              <a:ext uri="{FF2B5EF4-FFF2-40B4-BE49-F238E27FC236}">
                <a16:creationId xmlns:a16="http://schemas.microsoft.com/office/drawing/2014/main" id="{BBD5CA29-7CEE-B96C-B9EE-09210767D4B8}"/>
              </a:ext>
            </a:extLst>
          </p:cNvPr>
          <p:cNvSpPr txBox="1"/>
          <p:nvPr/>
        </p:nvSpPr>
        <p:spPr>
          <a:xfrm>
            <a:off x="8608715" y="5957024"/>
            <a:ext cx="1005840" cy="153888"/>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a:latin typeface="72 Brand" panose="020B0504030603020204" pitchFamily="34" charset="0"/>
                <a:ea typeface="72 Brand" pitchFamily="34" charset="-128"/>
                <a:cs typeface="72 Brand" pitchFamily="34" charset="-128"/>
              </a:rPr>
              <a:t>AI </a:t>
            </a:r>
            <a:r>
              <a:rPr lang="en-US" sz="1000" kern="0" dirty="0" err="1">
                <a:latin typeface="72 Brand" panose="020B0504030603020204" pitchFamily="34" charset="0"/>
                <a:ea typeface="72 Brand" pitchFamily="34" charset="-128"/>
                <a:cs typeface="72 Brand" pitchFamily="34" charset="-128"/>
              </a:rPr>
              <a:t>Agenten</a:t>
            </a:r>
            <a:endParaRPr lang="en-US" sz="1000" kern="0" dirty="0">
              <a:latin typeface="72 Brand" panose="020B0504030603020204" pitchFamily="34" charset="0"/>
              <a:ea typeface="72 Brand" pitchFamily="34" charset="-128"/>
              <a:cs typeface="72 Brand" pitchFamily="34" charset="-128"/>
            </a:endParaRPr>
          </a:p>
        </p:txBody>
      </p:sp>
      <p:sp>
        <p:nvSpPr>
          <p:cNvPr id="54" name="Oval 53">
            <a:extLst>
              <a:ext uri="{FF2B5EF4-FFF2-40B4-BE49-F238E27FC236}">
                <a16:creationId xmlns:a16="http://schemas.microsoft.com/office/drawing/2014/main" id="{5DC03AB6-5AA7-7A57-77E0-1610CA0ECA82}"/>
              </a:ext>
            </a:extLst>
          </p:cNvPr>
          <p:cNvSpPr/>
          <p:nvPr/>
        </p:nvSpPr>
        <p:spPr bwMode="gray">
          <a:xfrm>
            <a:off x="8751417" y="5116587"/>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cxnSp>
        <p:nvCxnSpPr>
          <p:cNvPr id="55" name="Straight Connector 54">
            <a:extLst>
              <a:ext uri="{FF2B5EF4-FFF2-40B4-BE49-F238E27FC236}">
                <a16:creationId xmlns:a16="http://schemas.microsoft.com/office/drawing/2014/main" id="{CCF594C9-60CE-4714-987D-1E2E9097CD8A}"/>
              </a:ext>
            </a:extLst>
          </p:cNvPr>
          <p:cNvCxnSpPr/>
          <p:nvPr/>
        </p:nvCxnSpPr>
        <p:spPr>
          <a:xfrm>
            <a:off x="9751715" y="4964257"/>
            <a:ext cx="0" cy="1423463"/>
          </a:xfrm>
          <a:prstGeom prst="line">
            <a:avLst/>
          </a:prstGeom>
          <a:ln w="6350">
            <a:solidFill>
              <a:srgbClr val="A9B4B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35E4CBB-33FD-48CE-9DD9-9916AF1D02B0}"/>
              </a:ext>
            </a:extLst>
          </p:cNvPr>
          <p:cNvSpPr txBox="1"/>
          <p:nvPr/>
        </p:nvSpPr>
        <p:spPr>
          <a:xfrm>
            <a:off x="9888876" y="5957024"/>
            <a:ext cx="1005840" cy="461665"/>
          </a:xfrm>
          <a:prstGeom prst="rect">
            <a:avLst/>
          </a:prstGeom>
          <a:noFill/>
        </p:spPr>
        <p:txBody>
          <a:bodyPr wrap="square" lIns="0" tIns="0" rIns="0" bIns="0" rtlCol="0">
            <a:spAutoFit/>
          </a:bodyPr>
          <a:lstStyle/>
          <a:p>
            <a:pPr algn="ctr" fontAlgn="base">
              <a:spcBef>
                <a:spcPct val="50000"/>
              </a:spcBef>
              <a:spcAft>
                <a:spcPct val="0"/>
              </a:spcAft>
              <a:buClr>
                <a:schemeClr val="tx1"/>
              </a:buClr>
              <a:buSzPct val="100000"/>
            </a:pPr>
            <a:r>
              <a:rPr lang="en-US" sz="1000" kern="0" dirty="0" err="1">
                <a:latin typeface="72 Brand" panose="020B0504030603020204" pitchFamily="34" charset="0"/>
                <a:ea typeface="72 Brand" pitchFamily="34" charset="-128"/>
                <a:cs typeface="72 Brand" pitchFamily="34" charset="-128"/>
              </a:rPr>
              <a:t>Agenten</a:t>
            </a:r>
            <a:r>
              <a:rPr lang="en-US" sz="1000" kern="0" dirty="0">
                <a:latin typeface="72 Brand" panose="020B0504030603020204" pitchFamily="34" charset="0"/>
                <a:ea typeface="72 Brand" pitchFamily="34" charset="-128"/>
                <a:cs typeface="72 Brand" pitchFamily="34" charset="-128"/>
              </a:rPr>
              <a:t> </a:t>
            </a:r>
            <a:r>
              <a:rPr lang="en-US" sz="1000" kern="0" dirty="0" err="1">
                <a:latin typeface="72 Brand" panose="020B0504030603020204" pitchFamily="34" charset="0"/>
                <a:ea typeface="72 Brand" pitchFamily="34" charset="-128"/>
                <a:cs typeface="72 Brand" pitchFamily="34" charset="-128"/>
              </a:rPr>
              <a:t>gesteuerte</a:t>
            </a:r>
            <a:r>
              <a:rPr lang="en-US" sz="1000" kern="0" dirty="0">
                <a:latin typeface="72 Brand" panose="020B0504030603020204" pitchFamily="34" charset="0"/>
                <a:ea typeface="72 Brand" pitchFamily="34" charset="-128"/>
                <a:cs typeface="72 Brand" pitchFamily="34" charset="-128"/>
              </a:rPr>
              <a:t> Workflows</a:t>
            </a:r>
          </a:p>
        </p:txBody>
      </p:sp>
      <p:sp>
        <p:nvSpPr>
          <p:cNvPr id="57" name="Oval 56">
            <a:extLst>
              <a:ext uri="{FF2B5EF4-FFF2-40B4-BE49-F238E27FC236}">
                <a16:creationId xmlns:a16="http://schemas.microsoft.com/office/drawing/2014/main" id="{25AED1FA-9B5A-BF5E-DF24-C1F8FDEDE557}"/>
              </a:ext>
            </a:extLst>
          </p:cNvPr>
          <p:cNvSpPr/>
          <p:nvPr/>
        </p:nvSpPr>
        <p:spPr bwMode="gray">
          <a:xfrm>
            <a:off x="10031578" y="5116587"/>
            <a:ext cx="720436" cy="720979"/>
          </a:xfrm>
          <a:prstGeom prst="ellipse">
            <a:avLst/>
          </a:prstGeom>
          <a:noFill/>
          <a:ln w="19050" algn="ctr">
            <a:solidFill>
              <a:schemeClr val="accent6">
                <a:lumMod val="50000"/>
              </a:schemeClr>
            </a:solidFill>
            <a:miter lim="800000"/>
            <a:headEnd/>
            <a:tailEnd/>
          </a:ln>
          <a:effectLst/>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800" b="0" i="0" u="none" strike="noStrike" kern="0" cap="none" spc="0" normalizeH="0" baseline="0" noProof="0">
              <a:ln>
                <a:noFill/>
              </a:ln>
              <a:effectLst/>
              <a:uLnTx/>
              <a:uFillTx/>
              <a:latin typeface="+mn-lt"/>
              <a:ea typeface="72 Brand" pitchFamily="34" charset="-128"/>
              <a:cs typeface="72 Brand" pitchFamily="34" charset="-128"/>
            </a:endParaRPr>
          </a:p>
        </p:txBody>
      </p:sp>
      <p:pic>
        <p:nvPicPr>
          <p:cNvPr id="58" name="Graphic 57" descr="Robot with solid fill">
            <a:extLst>
              <a:ext uri="{FF2B5EF4-FFF2-40B4-BE49-F238E27FC236}">
                <a16:creationId xmlns:a16="http://schemas.microsoft.com/office/drawing/2014/main" id="{25C0D25B-F269-2F0C-8B3E-179A938B363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840150" y="5203782"/>
            <a:ext cx="548640" cy="548640"/>
          </a:xfrm>
          <a:prstGeom prst="rect">
            <a:avLst/>
          </a:prstGeom>
        </p:spPr>
      </p:pic>
      <p:pic>
        <p:nvPicPr>
          <p:cNvPr id="59" name="Graphic 58" descr="Workflow with solid fill">
            <a:extLst>
              <a:ext uri="{FF2B5EF4-FFF2-40B4-BE49-F238E27FC236}">
                <a16:creationId xmlns:a16="http://schemas.microsoft.com/office/drawing/2014/main" id="{BC34665D-CED9-414C-90BA-D2670BEB9E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117476" y="5203782"/>
            <a:ext cx="548640" cy="548640"/>
          </a:xfrm>
          <a:prstGeom prst="rect">
            <a:avLst/>
          </a:prstGeom>
        </p:spPr>
      </p:pic>
    </p:spTree>
    <p:extLst>
      <p:ext uri="{BB962C8B-B14F-4D97-AF65-F5344CB8AC3E}">
        <p14:creationId xmlns:p14="http://schemas.microsoft.com/office/powerpoint/2010/main" val="35772847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P_AGENDA" val="TOC TOCShowsSubsections Dividers SectionNumber SlideNumber"/>
</p:tagLst>
</file>

<file path=ppt/tags/tag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1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1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1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1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1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1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10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10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10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1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1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11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11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11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11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11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11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11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2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12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12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12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12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12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12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1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1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1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1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1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00 [4]&quot; Source=&quot;Harvey 100&quot; /&gt;"/>
</p:tagLst>
</file>

<file path=ppt/tags/tag1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00 [5]&quot; Source=&quot;Harvey 100&quot; /&gt;"/>
</p:tagLst>
</file>

<file path=ppt/tags/tag1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00 [6]&quot; Source=&quot;Harvey 100&quot; /&gt;"/>
</p:tagLst>
</file>

<file path=ppt/tags/tag1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00 [7]&quot; Source=&quot;Harvey 100&quot; /&gt;"/>
</p:tagLst>
</file>

<file path=ppt/tags/tag1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00 [8]&quot; Source=&quot;Harvey 100&quot; /&gt;"/>
</p:tagLst>
</file>

<file path=ppt/tags/tag1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1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1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1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1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00 [9]&quot; Source=&quot;Harvey 100&quot; /&gt;"/>
</p:tagLst>
</file>

<file path=ppt/tags/tag1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1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1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1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1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1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1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1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1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1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100 [10]&quot; Source=&quot;Harvey 100&quot; /&gt;"/>
</p:tagLst>
</file>

<file path=ppt/tags/tag1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1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1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1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1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1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1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1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1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1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100 [11]&quot; Source=&quot;Harvey 100&quot; /&gt;"/>
</p:tagLst>
</file>

<file path=ppt/tags/tag1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1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1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1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1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1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1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1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1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1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2/100 [12]&quot; Source=&quot;Harvey 100&quot; /&gt;"/>
</p:tagLst>
</file>

<file path=ppt/tags/tag1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1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1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1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1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1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1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1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1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1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3/100 [13]&quot; Source=&quot;Harvey 100&quot; /&gt;"/>
</p:tagLst>
</file>

<file path=ppt/tags/tag1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1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1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1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1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1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1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1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1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1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True&quot; Source=&quot;Group 4&quot; Layer=&quot;Group 4&quot; /&gt;"/>
</p:tagLst>
</file>

<file path=ppt/tags/tag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4/100 [14]&quot; Source=&quot;Harvey 100&quot; /&gt;"/>
</p:tagLst>
</file>

<file path=ppt/tags/tag20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20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20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20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20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20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20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20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20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20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5/100 [15]&quot; Source=&quot;Harvey 100&quot; /&gt;"/>
</p:tagLst>
</file>

<file path=ppt/tags/tag21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21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21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21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21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21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21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21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21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21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6/100 [16]&quot; Source=&quot;Harvey 100&quot; /&gt;"/>
</p:tagLst>
</file>

<file path=ppt/tags/tag22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22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22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2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2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ags/tag2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4/100 [94]&quot; Source=&quot;Harvey 100&quot; /&gt;"/>
</p:tagLst>
</file>

<file path=ppt/tags/tag2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5/100 [95]&quot; Source=&quot;Harvey 100&quot; /&gt;"/>
</p:tagLst>
</file>

<file path=ppt/tags/tag2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6/100 [96]&quot; Source=&quot;Harvey 100&quot; /&gt;"/>
</p:tagLst>
</file>

<file path=ppt/tags/tag2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7/100 [97]&quot; Source=&quot;Harvey 100&quot; /&gt;"/>
</p:tagLst>
</file>

<file path=ppt/tags/tag2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8/100 [98]&quot; Source=&quot;Harvey 100&quot; /&gt;"/>
</p:tagLst>
</file>

<file path=ppt/tags/tag2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7/100 [17]&quot; Source=&quot;Harvey 100&quot; /&gt;"/>
</p:tagLst>
</file>

<file path=ppt/tags/tag2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9/100 [99]&quot; Source=&quot;Harvey 100&quot; /&gt;"/>
</p:tagLst>
</file>

<file path=ppt/tags/tag2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00/100 [100]&quot; Source=&quot;Harvey 100&quot; /&gt;"/>
</p:tagLst>
</file>

<file path=ppt/tags/tag23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0/8 [0]&quot; /&gt;"/>
</p:tagLst>
</file>

<file path=ppt/tags/tag23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1/8 [1]&quot; /&gt;"/>
</p:tagLst>
</file>

<file path=ppt/tags/tag2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2/8 [2]&quot; /&gt;"/>
</p:tagLst>
</file>

<file path=ppt/tags/tag2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3/8 [3]&quot; /&gt;"/>
</p:tagLst>
</file>

<file path=ppt/tags/tag2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4/8 [4]&quot; /&gt;"/>
</p:tagLst>
</file>

<file path=ppt/tags/tag2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5/8 [5]&quot; /&gt;"/>
</p:tagLst>
</file>

<file path=ppt/tags/tag2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6/8 [6]&quot; /&gt;"/>
</p:tagLst>
</file>

<file path=ppt/tags/tag2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7/8 [7]&quot; /&gt;"/>
</p:tagLst>
</file>

<file path=ppt/tags/tag2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8/100 [18]&quot; Source=&quot;Harvey 100&quot; /&gt;"/>
</p:tagLst>
</file>

<file path=ppt/tags/tag24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False&quot; Source=&quot;Harvey 8&quot; Layer=&quot;Harvey 8/8 [8]&quot; /&gt;"/>
</p:tagLst>
</file>

<file path=ppt/tags/tag24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0/4 [0]&quot; /&gt;"/>
</p:tagLst>
</file>

<file path=ppt/tags/tag24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1/4 [1]&quot; /&gt;"/>
</p:tagLst>
</file>

<file path=ppt/tags/tag24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2/4 [2]&quot; /&gt;"/>
</p:tagLst>
</file>

<file path=ppt/tags/tag24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3/4 [3]&quot; /&gt;"/>
</p:tagLst>
</file>

<file path=ppt/tags/tag24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False&quot; Source=&quot;Group 5&quot; Layer=&quot;Harvey 4/4 [4]&quot; /&gt;"/>
</p:tagLst>
</file>

<file path=ppt/tags/tag24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0/3 [0]&quot; /&gt;"/>
</p:tagLst>
</file>

<file path=ppt/tags/tag24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1/3 [1]&quot; /&gt;"/>
</p:tagLst>
</file>

<file path=ppt/tags/tag24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2/3 [2]&quot; /&gt;"/>
</p:tagLst>
</file>

<file path=ppt/tags/tag24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2915f3e2-8299-477b-bc6f-b8374767579c&quot; /&gt;"/>
  <p:tag name="SP_POWERSHAPE" val="&lt;PowerShapeTag ClassVersion=&quot;0&quot; GUID=&quot;482b1744-6a2c-4e40-b634-2f3943210f4d&quot; IsConsolidated=&quot;False&quot; IsTopLevel=&quot;False&quot; Source=&quot;Group 4&quot; Layer=&quot;Harvey 3/3 [3]&quot; /&gt;"/>
</p:tagLst>
</file>

<file path=ppt/tags/tag2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9/100 [19]&quot; Source=&quot;Harvey 100&quot; /&gt;"/>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0/100 [20]&quot; Source=&quot;Harvey 100&quot; /&gt;"/>
</p:tagLst>
</file>

<file path=ppt/tags/tag2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100 [21]&quot; Source=&quot;Harvey 100&quot; /&gt;"/>
</p:tagLst>
</file>

<file path=ppt/tags/tag2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2/100 [22]&quot; Source=&quot;Harvey 100&quot; /&gt;"/>
</p:tagLst>
</file>

<file path=ppt/tags/tag2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3/100 [23]&quot; Source=&quot;Harvey 100&quot; /&g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d49074d4-1016-448b-856a-9ab9e2544118&quot; IsConsolidated=&quot;False&quot; IsTopLevel=&quot;True&quot; Source=&quot;Group 5&quot; Layer=&quot;Group 5&quot; /&gt;"/>
</p:tagLst>
</file>

<file path=ppt/tags/tag3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4/100 [24]&quot; Source=&quot;Harvey 100&quot; /&gt;"/>
</p:tagLst>
</file>

<file path=ppt/tags/tag3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5/100 [25]&quot; Source=&quot;Harvey 100&quot; /&gt;"/>
</p:tagLst>
</file>

<file path=ppt/tags/tag3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6/100 [26]&quot; Source=&quot;Harvey 100&quot; /&gt;"/>
</p:tagLst>
</file>

<file path=ppt/tags/tag3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7/100 [27]&quot; Source=&quot;Harvey 100&quot; /&gt;"/>
</p:tagLst>
</file>

<file path=ppt/tags/tag3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8/100 [28]&quot; Source=&quot;Harvey 100&quot; /&gt;"/>
</p:tagLst>
</file>

<file path=ppt/tags/tag3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9/100 [29]&quot; Source=&quot;Harvey 100&quot; /&gt;"/>
</p:tagLst>
</file>

<file path=ppt/tags/tag3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0/100 [30]&quot; Source=&quot;Harvey 100&quot; /&gt;"/>
</p:tagLst>
</file>

<file path=ppt/tags/tag3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100 [31]&quot; Source=&quot;Harvey 100&quot; /&gt;"/>
</p:tagLst>
</file>

<file path=ppt/tags/tag3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2/100 [32]&quot; Source=&quot;Harvey 100&quot; /&gt;"/>
</p:tagLst>
</file>

<file path=ppt/tags/tag3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3/100 [33]&quot; Source=&quot;Harvey 100&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3ac6243e-138b-4d24-9233-68986636b925&quot; /&gt;"/>
  <p:tag name="SP_POWERSHAPE" val="&lt;PowerShapeTag ClassVersion=&quot;0&quot; GUID=&quot;b4a0a1cc-0b52-49b0-80fe-c3d6b9aabd20&quot; IsConsolidated=&quot;False&quot; IsTopLevel=&quot;True&quot; Source=&quot;Harvey 8&quot; Layer=&quot;Harvey 8&quot; /&gt;"/>
</p:tagLst>
</file>

<file path=ppt/tags/tag4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4/100 [34]&quot; Source=&quot;Harvey 100&quot; /&gt;"/>
</p:tagLst>
</file>

<file path=ppt/tags/tag4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5/100 [35]&quot; Source=&quot;Harvey 100&quot; /&gt;"/>
</p:tagLst>
</file>

<file path=ppt/tags/tag4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6/100 [36]&quot; Source=&quot;Harvey 100&quot; /&gt;"/>
</p:tagLst>
</file>

<file path=ppt/tags/tag4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7/100 [37]&quot; Source=&quot;Harvey 100&quot; /&gt;"/>
</p:tagLst>
</file>

<file path=ppt/tags/tag4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8/100 [38]&quot; Source=&quot;Harvey 100&quot; /&gt;"/>
</p:tagLst>
</file>

<file path=ppt/tags/tag4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9/100 [39]&quot; Source=&quot;Harvey 100&quot; /&gt;"/>
</p:tagLst>
</file>

<file path=ppt/tags/tag4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0/100 [40]&quot; Source=&quot;Harvey 100&quot; /&gt;"/>
</p:tagLst>
</file>

<file path=ppt/tags/tag4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1/100 [41]&quot; Source=&quot;Harvey 100&quot; /&gt;"/>
</p:tagLst>
</file>

<file path=ppt/tags/tag4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2/100 [42]&quot; Source=&quot;Harvey 100&quot; /&gt;"/>
</p:tagLst>
</file>

<file path=ppt/tags/tag4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3/100 [43]&quot; Source=&quot;Harvey 100&quot; /&g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d5f66dcd-7c8d-4661-849b-23a9587c15e3&quot; /&gt;"/>
  <p:tag name="SP_POWERSHAPE" val="&lt;PowerShapeTag ClassVersion=&quot;0&quot; GUID=&quot;81f1f80b-b882-418d-8bbb-9c38d8d27274&quot; IsConsolidated=&quot;False&quot; IsTopLevel=&quot;True&quot; Layer=&quot;Harvey 100&quot; Source=&quot;Harvey 100&quot; /&gt;"/>
</p:tagLst>
</file>

<file path=ppt/tags/tag5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4/100 [44]&quot; Source=&quot;Harvey 100&quot; /&gt;"/>
</p:tagLst>
</file>

<file path=ppt/tags/tag5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5/100 [45]&quot; Source=&quot;Harvey 100&quot; /&gt;"/>
</p:tagLst>
</file>

<file path=ppt/tags/tag5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6/100 [46]&quot; Source=&quot;Harvey 100&quot; /&gt;"/>
</p:tagLst>
</file>

<file path=ppt/tags/tag5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7/100 [47]&quot; Source=&quot;Harvey 100&quot; /&gt;"/>
</p:tagLst>
</file>

<file path=ppt/tags/tag5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8/100 [48]&quot; Source=&quot;Harvey 100&quot; /&gt;"/>
</p:tagLst>
</file>

<file path=ppt/tags/tag5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49/100 [49]&quot; Source=&quot;Harvey 100&quot; /&gt;"/>
</p:tagLst>
</file>

<file path=ppt/tags/tag5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0/100 [50]&quot; Source=&quot;Harvey 100&quot; /&gt;"/>
</p:tagLst>
</file>

<file path=ppt/tags/tag5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1/100 [51]&quot; Source=&quot;Harvey 100&quot; /&gt;"/>
</p:tagLst>
</file>

<file path=ppt/tags/tag5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2/100 [52]&quot; Source=&quot;Harvey 100&quot; /&gt;"/>
</p:tagLst>
</file>

<file path=ppt/tags/tag5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3/100 [53]&quot; Source=&quot;Harvey 100&quot; /&gt;"/>
</p:tagLst>
</file>

<file path=ppt/tags/tag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0/100 [0]&quot; Source=&quot;Harvey 100&quot; /&gt;"/>
</p:tagLst>
</file>

<file path=ppt/tags/tag6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4/100 [54]&quot; Source=&quot;Harvey 100&quot; /&gt;"/>
</p:tagLst>
</file>

<file path=ppt/tags/tag6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5/100 [55]&quot; Source=&quot;Harvey 100&quot; /&gt;"/>
</p:tagLst>
</file>

<file path=ppt/tags/tag6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6/100 [56]&quot; Source=&quot;Harvey 100&quot; /&gt;"/>
</p:tagLst>
</file>

<file path=ppt/tags/tag6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7/100 [57]&quot; Source=&quot;Harvey 100&quot; /&gt;"/>
</p:tagLst>
</file>

<file path=ppt/tags/tag6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8/100 [58]&quot; Source=&quot;Harvey 100&quot; /&gt;"/>
</p:tagLst>
</file>

<file path=ppt/tags/tag6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59/100 [59]&quot; Source=&quot;Harvey 100&quot; /&gt;"/>
</p:tagLst>
</file>

<file path=ppt/tags/tag6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0/100 [60]&quot; Source=&quot;Harvey 100&quot; /&gt;"/>
</p:tagLst>
</file>

<file path=ppt/tags/tag6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1/100 [61]&quot; Source=&quot;Harvey 100&quot; /&gt;"/>
</p:tagLst>
</file>

<file path=ppt/tags/tag6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2/100 [62]&quot; Source=&quot;Harvey 100&quot; /&gt;"/>
</p:tagLst>
</file>

<file path=ppt/tags/tag6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3/100 [63]&quot; Source=&quot;Harvey 100&quot; /&gt;"/>
</p:tagLst>
</file>

<file path=ppt/tags/tag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1/100 [1]&quot; Source=&quot;Harvey 100&quot; /&gt;"/>
</p:tagLst>
</file>

<file path=ppt/tags/tag7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4/100 [64]&quot; Source=&quot;Harvey 100&quot; /&gt;"/>
</p:tagLst>
</file>

<file path=ppt/tags/tag7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5/100 [65]&quot; Source=&quot;Harvey 100&quot; /&gt;"/>
</p:tagLst>
</file>

<file path=ppt/tags/tag7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6/100 [66]&quot; Source=&quot;Harvey 100&quot; /&gt;"/>
</p:tagLst>
</file>

<file path=ppt/tags/tag7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7/100 [67]&quot; Source=&quot;Harvey 100&quot; /&gt;"/>
</p:tagLst>
</file>

<file path=ppt/tags/tag7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8/100 [68]&quot; Source=&quot;Harvey 100&quot; /&gt;"/>
</p:tagLst>
</file>

<file path=ppt/tags/tag7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69/100 [69]&quot; Source=&quot;Harvey 100&quot; /&gt;"/>
</p:tagLst>
</file>

<file path=ppt/tags/tag7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0/100 [70]&quot; Source=&quot;Harvey 100&quot; /&gt;"/>
</p:tagLst>
</file>

<file path=ppt/tags/tag7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1/100 [71]&quot; Source=&quot;Harvey 100&quot; /&gt;"/>
</p:tagLst>
</file>

<file path=ppt/tags/tag7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2/100 [72]&quot; Source=&quot;Harvey 100&quot; /&gt;"/>
</p:tagLst>
</file>

<file path=ppt/tags/tag7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3/100 [73]&quot; Source=&quot;Harvey 100&quot; /&gt;"/>
</p:tagLst>
</file>

<file path=ppt/tags/tag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2/100 [2]&quot; Source=&quot;Harvey 100&quot; /&gt;"/>
</p:tagLst>
</file>

<file path=ppt/tags/tag8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4/100 [74]&quot; Source=&quot;Harvey 100&quot; /&gt;"/>
</p:tagLst>
</file>

<file path=ppt/tags/tag8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5/100 [75]&quot; Source=&quot;Harvey 100&quot; /&gt;"/>
</p:tagLst>
</file>

<file path=ppt/tags/tag8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6/100 [76]&quot; Source=&quot;Harvey 100&quot; /&gt;"/>
</p:tagLst>
</file>

<file path=ppt/tags/tag8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7/100 [77]&quot; Source=&quot;Harvey 100&quot; /&gt;"/>
</p:tagLst>
</file>

<file path=ppt/tags/tag8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8/100 [78]&quot; Source=&quot;Harvey 100&quot; /&gt;"/>
</p:tagLst>
</file>

<file path=ppt/tags/tag8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79/100 [79]&quot; Source=&quot;Harvey 100&quot; /&gt;"/>
</p:tagLst>
</file>

<file path=ppt/tags/tag8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0/100 [80]&quot; Source=&quot;Harvey 100&quot; /&gt;"/>
</p:tagLst>
</file>

<file path=ppt/tags/tag8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1/100 [81]&quot; Source=&quot;Harvey 100&quot; /&gt;"/>
</p:tagLst>
</file>

<file path=ppt/tags/tag8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2/100 [82]&quot; Source=&quot;Harvey 100&quot; /&gt;"/>
</p:tagLst>
</file>

<file path=ppt/tags/tag8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3/100 [83]&quot; Source=&quot;Harvey 100&quot; /&gt;"/>
</p:tagLst>
</file>

<file path=ppt/tags/tag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3/100 [3]&quot; Source=&quot;Harvey 100&quot; /&gt;"/>
</p:tagLst>
</file>

<file path=ppt/tags/tag90.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4/100 [84]&quot; Source=&quot;Harvey 100&quot; /&gt;"/>
</p:tagLst>
</file>

<file path=ppt/tags/tag91.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5/100 [85]&quot; Source=&quot;Harvey 100&quot; /&gt;"/>
</p:tagLst>
</file>

<file path=ppt/tags/tag92.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6/100 [86]&quot; Source=&quot;Harvey 100&quot; /&gt;"/>
</p:tagLst>
</file>

<file path=ppt/tags/tag93.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7/100 [87]&quot; Source=&quot;Harvey 100&quot; /&gt;"/>
</p:tagLst>
</file>

<file path=ppt/tags/tag94.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8/100 [88]&quot; Source=&quot;Harvey 100&quot; /&gt;"/>
</p:tagLst>
</file>

<file path=ppt/tags/tag95.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89/100 [89]&quot; Source=&quot;Harvey 100&quot; /&gt;"/>
</p:tagLst>
</file>

<file path=ppt/tags/tag96.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0/100 [90]&quot; Source=&quot;Harvey 100&quot; /&gt;"/>
</p:tagLst>
</file>

<file path=ppt/tags/tag97.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1/100 [91]&quot; Source=&quot;Harvey 100&quot; /&gt;"/>
</p:tagLst>
</file>

<file path=ppt/tags/tag98.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2/100 [92]&quot; Source=&quot;Harvey 100&quot; /&gt;"/>
</p:tagLst>
</file>

<file path=ppt/tags/tag99.xml><?xml version="1.0" encoding="utf-8"?>
<p:tagLst xmlns:a="http://schemas.openxmlformats.org/drawingml/2006/main" xmlns:r="http://schemas.openxmlformats.org/officeDocument/2006/relationships" xmlns:p="http://schemas.openxmlformats.org/presentationml/2006/main">
  <p:tag name="SP_POWERSHAPE" val="&lt;PowerShapeTag ClassVersion=&quot;0&quot; GUID=&quot;81f1f80b-b882-418d-8bbb-9c38d8d27274&quot; IsConsolidated=&quot;False&quot; IsTopLevel=&quot;False&quot; Layer=&quot;Harvey 93/100 [93]&quot; Source=&quot;Harvey 100&quot; /&gt;"/>
</p:tagLst>
</file>

<file path=ppt/theme/theme1.xml><?xml version="1.0" encoding="utf-8"?>
<a:theme xmlns:a="http://schemas.openxmlformats.org/drawingml/2006/main" name="SAP Template 2025">
  <a:themeElements>
    <a:clrScheme name="SAP Colors 2023">
      <a:dk1>
        <a:srgbClr val="000000"/>
      </a:dk1>
      <a:lt1>
        <a:srgbClr val="FFFFFF"/>
      </a:lt1>
      <a:dk2>
        <a:srgbClr val="1B90FF"/>
      </a:dk2>
      <a:lt2>
        <a:srgbClr val="89D1FF"/>
      </a:lt2>
      <a:accent1>
        <a:srgbClr val="E76500"/>
      </a:accent1>
      <a:accent2>
        <a:srgbClr val="049F9A"/>
      </a:accent2>
      <a:accent3>
        <a:srgbClr val="36A41D"/>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smtClean="0">
            <a:ln>
              <a:noFill/>
            </a:ln>
            <a:effectLst/>
            <a:uLnTx/>
            <a:uFillTx/>
            <a:latin typeface="+mn-lt"/>
            <a:ea typeface="72 Brand" pitchFamily="34" charset="-128"/>
            <a:cs typeface="72 Brand"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fontAlgn="base">
          <a:spcBef>
            <a:spcPct val="50000"/>
          </a:spcBef>
          <a:spcAft>
            <a:spcPct val="0"/>
          </a:spcAft>
          <a:buClr>
            <a:schemeClr val="tx1"/>
          </a:buClr>
          <a:buSzPct val="100000"/>
          <a:defRPr sz="1800" kern="0" dirty="0" err="1" smtClean="0">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6" id="{6EE3CE7A-E618-354C-A911-C8B540FBF846}" vid="{D6A1CD9D-FAE1-404C-ADBB-39144CF68697}"/>
    </a:ext>
  </a:extLst>
</a:theme>
</file>

<file path=ppt/theme/theme2.xml><?xml version="1.0" encoding="utf-8"?>
<a:theme xmlns:a="http://schemas.openxmlformats.org/drawingml/2006/main" name="4_SAP Template 2024">
  <a:themeElements>
    <a:clrScheme name="Custom 1">
      <a:dk1>
        <a:srgbClr val="000000"/>
      </a:dk1>
      <a:lt1>
        <a:srgbClr val="FFFFFF"/>
      </a:lt1>
      <a:dk2>
        <a:srgbClr val="475E75"/>
      </a:dk2>
      <a:lt2>
        <a:srgbClr val="EAECEE"/>
      </a:lt2>
      <a:accent1>
        <a:srgbClr val="0070F2"/>
      </a:accent1>
      <a:accent2>
        <a:srgbClr val="07838F"/>
      </a:accent2>
      <a:accent3>
        <a:srgbClr val="188918"/>
      </a:accent3>
      <a:accent4>
        <a:srgbClr val="FA4F96"/>
      </a:accent4>
      <a:accent5>
        <a:srgbClr val="F31DED"/>
      </a:accent5>
      <a:accent6>
        <a:srgbClr val="7858FF"/>
      </a:accent6>
      <a:hlink>
        <a:srgbClr val="0070F2"/>
      </a:hlink>
      <a:folHlink>
        <a:srgbClr val="0070F2"/>
      </a:folHlink>
    </a:clrScheme>
    <a:fontScheme name="SAP 2023">
      <a:majorFont>
        <a:latin typeface="72 Brand Medium"/>
        <a:ea typeface=""/>
        <a:cs typeface=""/>
      </a:majorFont>
      <a:minorFont>
        <a:latin typeface="72 Brand"/>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25400" algn="ctr">
          <a:noFill/>
          <a:miter lim="800000"/>
          <a:headEnd/>
          <a:tailEnd/>
        </a:ln>
      </a:spPr>
      <a:bodyPr lIns="182880" tIns="146304" rIns="182880" bIns="146304" rtlCol="0" anchor="t"/>
      <a:lstStyle>
        <a:defPPr marR="0" algn="l" defTabSz="914400" eaLnBrk="1" fontAlgn="base" latinLnBrk="0" hangingPunct="1">
          <a:lnSpc>
            <a:spcPct val="100000"/>
          </a:lnSpc>
          <a:spcBef>
            <a:spcPct val="50000"/>
          </a:spcBef>
          <a:spcAft>
            <a:spcPct val="0"/>
          </a:spcAft>
          <a:buClr>
            <a:srgbClr val="F0AB00"/>
          </a:buClr>
          <a:buSzPct val="80000"/>
          <a:tabLst/>
          <a:defRPr kumimoji="0" sz="1200" b="0" i="0" u="none" strike="noStrike" kern="0" cap="none" spc="0" normalizeH="0" baseline="0" noProof="0" dirty="0">
            <a:ln>
              <a:noFill/>
            </a:ln>
            <a:effectLst/>
            <a:uLnTx/>
            <a:uFillTx/>
            <a:latin typeface="+mn-lt"/>
            <a:ea typeface="72 Brand" pitchFamily="34" charset="-128"/>
            <a:cs typeface="72 Brand" pitchFamily="34" charset="-128"/>
          </a:defRPr>
        </a:defPPr>
      </a:lst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chemeClr val="tx1"/>
          </a:buClr>
          <a:buSzPct val="100000"/>
          <a:defRPr sz="1800" kern="0" dirty="0" smtClean="0">
            <a:gradFill>
              <a:gsLst>
                <a:gs pos="0">
                  <a:schemeClr val="tx1"/>
                </a:gs>
                <a:gs pos="100000">
                  <a:schemeClr val="tx1"/>
                </a:gs>
              </a:gsLst>
              <a:lin ang="5400000" scaled="1"/>
            </a:gradFill>
            <a:latin typeface="72 Brand" panose="020B0504030603020204" pitchFamily="34" charset="0"/>
            <a:ea typeface="72 Brand" pitchFamily="34" charset="-128"/>
            <a:cs typeface="72 Brand" pitchFamily="34" charset="-128"/>
          </a:defRPr>
        </a:defPPr>
      </a:lstStyle>
    </a:txDef>
  </a:objectDefaults>
  <a:extraClrSchemeLst/>
  <a:custClrLst>
    <a:custClr name="Blue 2">
      <a:srgbClr val="D1EFFF"/>
    </a:custClr>
    <a:custClr name="Blue 4">
      <a:srgbClr val="89D1FF"/>
    </a:custClr>
    <a:custClr name="Blue 6">
      <a:srgbClr val="1B90FF"/>
    </a:custClr>
    <a:custClr name="Blue 7">
      <a:srgbClr val="0070F2"/>
    </a:custClr>
    <a:custClr name="Blue 10">
      <a:srgbClr val="002A86"/>
    </a:custClr>
    <a:custClr name="Blue 11">
      <a:srgbClr val="00144A"/>
    </a:custClr>
    <a:custClr name="Mango 2">
      <a:srgbClr val="FFF3B8"/>
    </a:custClr>
    <a:custClr name="Mango 4">
      <a:srgbClr val="FFC933"/>
    </a:custClr>
    <a:custClr name="Mango 6">
      <a:srgbClr val="E76500"/>
    </a:custClr>
    <a:custClr name="Mango 7">
      <a:srgbClr val="C35500"/>
    </a:custClr>
    <a:custClr name="Mango 10">
      <a:srgbClr val="6D1900"/>
    </a:custClr>
    <a:custClr name="Mango 11">
      <a:srgbClr val="450B00"/>
    </a:custClr>
    <a:custClr name="Teal 2">
      <a:srgbClr val="C2FCEE"/>
    </a:custClr>
    <a:custClr name="Teal 4">
      <a:srgbClr val="2CE0BF"/>
    </a:custClr>
    <a:custClr name="Teal 6">
      <a:srgbClr val="049F9A"/>
    </a:custClr>
    <a:custClr name="Teal 7">
      <a:srgbClr val="07838F"/>
    </a:custClr>
    <a:custClr name="Teal 10">
      <a:srgbClr val="02414C"/>
    </a:custClr>
    <a:custClr name="Teal 11">
      <a:srgbClr val="012931"/>
    </a:custClr>
    <a:custClr name="Green 2">
      <a:srgbClr val="EBF5CB"/>
    </a:custClr>
    <a:custClr name="Green 4">
      <a:srgbClr val="97DD40"/>
    </a:custClr>
    <a:custClr name="Green 6">
      <a:srgbClr val="36A41D"/>
    </a:custClr>
    <a:custClr name="Green 7">
      <a:srgbClr val="188918"/>
    </a:custClr>
    <a:custClr name="Green 10">
      <a:srgbClr val="164323"/>
    </a:custClr>
    <a:custClr name="Green 11">
      <a:srgbClr val="0E2B16"/>
    </a:custClr>
    <a:custClr name="Red 2">
      <a:srgbClr val="FFD5EA"/>
    </a:custClr>
    <a:custClr name="Red 4">
      <a:srgbClr val="FF8CB2"/>
    </a:custClr>
    <a:custClr name="Red 6">
      <a:srgbClr val="EE3939"/>
    </a:custClr>
    <a:custClr name="Red 7">
      <a:srgbClr val="D20A0A"/>
    </a:custClr>
    <a:custClr name="Red 10">
      <a:srgbClr val="5A0404"/>
    </a:custClr>
    <a:custClr name="Red 11">
      <a:srgbClr val="350000"/>
    </a:custClr>
    <a:custClr name="Raspberry 2">
      <a:srgbClr val="FFDCE8"/>
    </a:custClr>
    <a:custClr name="Raspberry 4">
      <a:srgbClr val="FEADC8"/>
    </a:custClr>
    <a:custClr name="Raspberry 6">
      <a:srgbClr val="FA4F96"/>
    </a:custClr>
    <a:custClr name="Raspberry 7">
      <a:srgbClr val="DF1278"/>
    </a:custClr>
    <a:custClr name="Raspberry 10">
      <a:srgbClr val="71014B"/>
    </a:custClr>
    <a:custClr name="Raspberry 11">
      <a:srgbClr val="510136"/>
    </a:custClr>
    <a:custClr name="Pink 2">
      <a:srgbClr val="FFDCF3"/>
    </a:custClr>
    <a:custClr name="Pink 4">
      <a:srgbClr val="FF8AF0"/>
    </a:custClr>
    <a:custClr name="Pink 6">
      <a:srgbClr val="F31DED"/>
    </a:custClr>
    <a:custClr name="Pink 7">
      <a:srgbClr val="CC00DC"/>
    </a:custClr>
    <a:custClr name="Pink 10">
      <a:srgbClr val="510080"/>
    </a:custClr>
    <a:custClr name="Pink 11">
      <a:srgbClr val="28004A"/>
    </a:custClr>
    <a:custClr name="Indigo 2">
      <a:srgbClr val="E2D8FF"/>
    </a:custClr>
    <a:custClr name="Indigo 4">
      <a:srgbClr val="B894FF"/>
    </a:custClr>
    <a:custClr name="Indigo 6">
      <a:srgbClr val="7858FF"/>
    </a:custClr>
    <a:custClr name="Indigo 7">
      <a:srgbClr val="5D36FF"/>
    </a:custClr>
    <a:custClr name="Indigo 10">
      <a:srgbClr val="1C0C6E"/>
    </a:custClr>
    <a:custClr name="Indigo 11">
      <a:srgbClr val="0E0637"/>
    </a:custClr>
  </a:custClrLst>
  <a:extLst>
    <a:ext uri="{05A4C25C-085E-4340-85A3-A5531E510DB2}">
      <thm15:themeFamily xmlns:thm15="http://schemas.microsoft.com/office/thememl/2012/main" name="Presentation1" id="{32301934-1F47-4673-8AA2-5547A30C3C81}" vid="{38BE2240-BC57-4CDF-A9EF-510593098AD1}"/>
    </a:ext>
  </a:extLst>
</a:theme>
</file>

<file path=ppt/theme/theme3.xml><?xml version="1.0" encoding="utf-8"?>
<a:theme xmlns:a="http://schemas.openxmlformats.org/drawingml/2006/main" name="Office Theme">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lue 2">
      <a:srgbClr val="D1EFFF"/>
    </a:custClr>
  </a:custClr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 dockstate="right" visibility="0" width="350" row="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D0FCFAFA-D3D3-1441-8101-DA629D03A5D9}">
  <we:reference id="b0692d11-e342-a550-cfba-e8c57e47b8f1" version="1.0.0.8"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E65AE667-A5F5-0F47-8627-5174A8B7EA47}">
  <we:reference id="b8d7a30b-109c-4c41-a1df-a6cb639730b5" version="2.0.0.5"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TemplafySlide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formDataEntries":[]}]]></TemplafySlideFormConfiguration>
</file>

<file path=customXml/item3.xml><?xml version="1.0" encoding="utf-8"?>
<TemplafyFormConfiguration><![CDATA[{"formFields":[{"distinct":false,"hideIfNoUserInteractionRequired":false,"required":true,"autoSelectFirstOption":false,"shareValue":false,"type":"dropDown","dataSourceName":"PPTSubBrandLogos2023","dataSourceFieldName":"Name","name":"SAPLogo","label":"Select Template"},{"distinct":false,"hideIfNoUserInteractionRequired":false,"required":true,"autoSelectFirstOption":false,"shareValue":false,"type":"dropDown","dataSourceName":"Classification","dataSourceFieldName":"Name","name":"Classification","label":"Select Classification"},{"required":false,"shareValue":false,"type":"datePicker","name":"Date","label":"Date"},{"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name":"SAPLogo","value":"eqdGz1aO4zEnJ+U1lA99X3pKIEjbgQvPMds9IfiKar4="},{"name":"Classification","value":"OmrOP8d402txjl1Zr787gUA6bTWeMdaxGEF9U5BKD64="},{"name":"SpeakerName","value":"YnPwfaWtJd9yqRikMcavEg=="},{"name":"Email","value":"v35+JSpO6F5yjM5PrFdVwQ=="}]}]]></TemplafyFormConfiguration>
</file>

<file path=customXml/item4.xml><?xml version="1.0" encoding="utf-8"?>
<ct:contentTypeSchema xmlns:ct="http://schemas.microsoft.com/office/2006/metadata/contentType" xmlns:ma="http://schemas.microsoft.com/office/2006/metadata/properties/metaAttributes" ct:_="" ma:_="" ma:contentTypeName="Dokument" ma:contentTypeID="0x010100B6012EE0EE194E4F8FAF564DAC167FEA" ma:contentTypeVersion="17" ma:contentTypeDescription="Ein neues Dokument erstellen." ma:contentTypeScope="" ma:versionID="330fee322fb069c802f24815dc0d4255">
  <xsd:schema xmlns:xsd="http://www.w3.org/2001/XMLSchema" xmlns:xs="http://www.w3.org/2001/XMLSchema" xmlns:p="http://schemas.microsoft.com/office/2006/metadata/properties" xmlns:ns2="d3e11325-e39c-4946-810b-be2856ddcbe9" xmlns:ns3="aa1ccb42-7cdc-403e-a462-f1b20785ae94" targetNamespace="http://schemas.microsoft.com/office/2006/metadata/properties" ma:root="true" ma:fieldsID="762449f0aee7db22d3c4c69e28e8265b" ns2:_="" ns3:_="">
    <xsd:import namespace="d3e11325-e39c-4946-810b-be2856ddcbe9"/>
    <xsd:import namespace="aa1ccb42-7cdc-403e-a462-f1b20785ae94"/>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LengthInSecond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Location" minOccurs="0"/>
                <xsd:element ref="ns3:MediaServiceAutoKeyPoints" minOccurs="0"/>
                <xsd:element ref="ns3:MediaServiceKeyPoint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e11325-e39c-4946-810b-be2856ddcbe9"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16" nillable="true" ma:displayName="Taxonomy Catch All Column" ma:hidden="true" ma:list="{bf699a30-6e90-4c9f-b45c-405c9f924242}" ma:internalName="TaxCatchAll" ma:showField="CatchAllData" ma:web="d3e11325-e39c-4946-810b-be2856ddcbe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a1ccb42-7cdc-403e-a462-f1b20785ae9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Bildmarkierungen" ma:readOnly="false" ma:fieldId="{5cf76f15-5ced-4ddc-b409-7134ff3c332f}" ma:taxonomyMulti="true" ma:sspId="a5cc3639-fa82-406e-bfdc-6e27a69b6bf2"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TemplafySlideTemplateConfiguration><![CDATA[{"slideVersion":17,"isValidatorEnabled":false,"isLocked":false,"elementsMetadata":[{"type":"shape","elementConfiguration":{"binding":"{{Form.SpeakerName}}","type":"text","disableUpdates":false}},{"type":"shape","elementConfiguration":{"binding":"{{Form.Email}}","type":"text","disableUpdates":false}},{"type":"shape","elementConfiguration":{"binding":"{{DataSources.PPTCopyRight[\"Slide 5 copyright\"].CopyrightMessage}}","visibility":"","type":"text","disableUpdates":false}}],"slideId":"638331234103056874","enableDocumentContentUpdater":false,"version":"2.0"}]]></TemplafySlideTemplateConfiguration>
</file>

<file path=customXml/item6.xml><?xml version="1.0" encoding="utf-8"?>
<TemplafySlideFormConfiguration><![CDATA[{"formFields":[{"required":false,"placeholder":"","lines":1,"defaultValue":"{{StringJoin(\" \", UserProfile.FirstName,UserProfile.LastName)}}","helpTexts":{"prefix":"After your name, include your preferred pronouns (they/them, she/her, he/him)."},"shareValue":false,"type":"textBox","name":"SpeakerName","label":"Name and Pronouns"},{"required":false,"placeholder":"","lines":1,"defaultValue":"{{UserProfile.Email}}","shareValue":false,"type":"textBox","name":"Email","label":"Email"}],"formDataEntries":[]}]]></TemplafySlideFormConfiguration>
</file>

<file path=customXml/item7.xml><?xml version="1.0" encoding="utf-8"?>
<p:properties xmlns:p="http://schemas.microsoft.com/office/2006/metadata/properties" xmlns:xsi="http://www.w3.org/2001/XMLSchema-instance" xmlns:pc="http://schemas.microsoft.com/office/infopath/2007/PartnerControls">
  <documentManagement>
    <lcf76f155ced4ddcb4097134ff3c332f xmlns="aa1ccb42-7cdc-403e-a462-f1b20785ae94">
      <Terms xmlns="http://schemas.microsoft.com/office/infopath/2007/PartnerControls"/>
    </lcf76f155ced4ddcb4097134ff3c332f>
    <TaxCatchAll xmlns="d3e11325-e39c-4946-810b-be2856ddcbe9" xsi:nil="true"/>
  </documentManagement>
</p:properties>
</file>

<file path=customXml/item8.xml><?xml version="1.0" encoding="utf-8"?>
<TemplafySlideTemplateConfiguration><![CDATA[{"slideVersion":19,"isValidatorEnabled":false,"isLocked":false,"elementsMetadata":[{"type":"shape","elementConfiguration":{"binding":"{{StringJoin(\", \", Form.SpeakerName,\"SAP\")}}","type":"text","disableUpdates":false}},{"type":"shape","elementConfiguration":{"binding":"{{FormatDateTime(Form.Date,\"MMMM dd, yyyy\",\"en-US\")}}","type":"text","disableUpdates":false}},{"type":"shape","elementConfiguration":{"inheritDimensions":"{{InheritDimensions.InheritNone}}","width":"","height":"1 cm","image":"{{Form.SAPLogo.SubbrandBlue}}","visibility":"","type":"image","disableUpdates":false}},{"type":"shape","elementConfiguration":{"binding":"{{Form.Classification.Display}}","visibility":"","type":"text","disableUpdates":false}}],"slideId":"638331234101560684","enableDocumentContentUpdater":false,"version":"2.0"}]]></TemplafySlideTemplateConfiguration>
</file>

<file path=customXml/item9.xml><?xml version="1.0" encoding="utf-8"?>
<TemplafyTemplateConfiguration><![CDATA[{"elementsMetadata":[{"type":"shape","id":"664291ec-d8c7-444b-b974-99bbba7dee9c","elementConfiguration":{"binding":"{{ DataSources.Classification[Form.Classification.Name].Display}}","type":"text","disableUpdates":false}},{"type":"shape","id":"fa218b91-c3ba-4bff-8e3c-898c99db9a8b","elementConfiguration":{"inheritDimensions":"{{InheritDimensions.InheritNone}}","width":"","height":"1 cm","image":"{{Form.SAPLogo.SubbrandBlue}}","visibility":"","type":"image","disableUpdates":false}},{"type":"shape","id":"46238122-1a8c-46c8-bd01-0d8f0db21355","elementConfiguration":{"binding":"{{Form.Classification.Display}}","visibility":"","type":"text","disableUpdates":false}},{"type":"shape","id":"3ed28157-6273-4042-898f-11dfddc6e478","elementConfiguration":{"binding":"{{Form.Classification.Display}}","visibility":"","type":"text","disableUpdates":false}},{"type":"shape","id":"9d1b9f11-411f-44fd-8fa7-ddcb32761eff","elementConfiguration":{"inheritDimensions":"{{InheritDimensions.InheritNone}}","width":"","height":"1 cm","image":"{{Form.SAPLogo.SubbrandBlack}}","visibility":"","type":"image","disableUpdates":false}},{"type":"shape","id":"a82df262-1601-4dd2-a994-099457e1f695","elementConfiguration":{"inheritDimensions":"{{InheritDimensions.InheritNone}}","width":"","height":"1 cm","image":"{{Form.SAPLogo.SubbrandWhite}}","visibility":"","type":"image","disableUpdates":false}},{"type":"shape","id":"c174b7e3-fe48-42c2-956d-22bde69305e5","elementConfiguration":{"binding":"{{Form.Classification.Display}}","visibility":"","type":"text","disableUpdates":false}},{"type":"shape","id":"d971cab9-a2e4-458e-bf6b-e91e7db50104","elementConfiguration":{"inheritDimensions":"{{InheritDimensions.InheritNone}}","width":"","height":"1 cm","image":"{{Form.SAPLogo.SubbrandBlue}}","visibility":"","type":"image","disableUpdates":false}},{"type":"shape","id":"e89bacae-0287-49a6-bfc4-2ebac8cbcb4f","elementConfiguration":{"binding":"{{Form.Classification.Display}}","visibility":"","type":"text","disableUpdates":false}},{"type":"shape","id":"f6dc417b-1022-45e0-acb5-d55545b733bd","elementConfiguration":{"inheritDimensions":"{{InheritDimensions.InheritNone}}","width":"","height":"1 cm","image":"{{Form.SAPLogo.SubbrandBlue}}","visibility":"","type":"image","disableUpdates":false}},{"type":"shape","id":"18e374b5-ab96-485e-9143-576d9c090cd5","elementConfiguration":{"binding":"{{Form.Classification.Display}}","visibility":"","type":"text","disableUpdates":false}},{"type":"shape","id":"10f8adee-d3a3-438b-8886-b5b949965a96","elementConfiguration":{"inheritDimensions":"{{InheritDimensions.InheritNone}}","width":"","height":"1 cm","image":"{{Form.SAPLogo.SubbrandBlue}}","visibility":"","type":"image","disableUpdates":false}},{"type":"shape","id":"5684d9df-e172-4477-9456-b7dbc911847c","elementConfiguration":{"binding":"{{Form.Classification.Display}}","visibility":"","type":"text","disableUpdates":false}},{"type":"shape","id":"c19fbb1b-2c8d-4cfa-9cbf-adb2047ffd31","elementConfiguration":{"inheritDimensions":"{{InheritDimensions.InheritNone}}","width":"","height":"1 cm","image":"{{Form.SAPLogo.SubbrandWhite}}","visibility":"","type":"image","disableUpdates":false}},{"type":"shape","id":"fa228154-d0aa-4465-bd1a-3aaada0f55df","elementConfiguration":{"binding":"{{Form.Classification.Display}}","visibility":"","type":"text","disableUpdates":false}},{"type":"shape","id":"80912183-bc58-4170-affe-513097c31042","elementConfiguration":{"binding":"{{DataSources.PPTCopyRight[\"Slide 5 copyright\"].CopyrightMessage}}","visibility":"","type":"text","disableUpdates":false}},{"type":"shape","id":"8d82a49b-643e-4946-9e88-fbf17c3fbd86","elementConfiguration":{"inheritDimensions":"{{InheritDimensions.InheritNone}}","width":"","height":"1 cm","image":"{{Form.SAPLogo.SubbrandBlack}}","visibility":"","type":"image","disableUpdates":false}},{"type":"shape","id":"f463d0f3-3f2e-4731-9aec-d6af87b3e34d","elementConfiguration":{"binding":"{{Form.Classification.Display}}","visibility":"","type":"text","disableUpdates":false}},{"type":"shape","id":"e125ee03-f93f-486e-96c6-5fe2cbfdc866","elementConfiguration":{"inheritDimensions":"{{InheritDimensions.InheritNone}}","width":"","height":"1 cm","image":"{{Form.SAPLogo.SubbrandWhite}}","visibility":"","type":"image","disableUpdates":false}},{"type":"shape","id":"e3c2177a-977d-4dea-8e24-ff7406e825f5","elementConfiguration":{"binding":"{{Form.Classification.Display}}","visibility":"","type":"text","disableUpdates":false}},{"type":"shape","id":"b5f92321-4f0f-42d3-b938-f9f91cf980e6","elementConfiguration":{"inheritDimensions":"{{InheritDimensions.InheritNone}}","width":"","height":"1 cm","image":"{{Form.SAPLogo.SubbrandBlack}}","visibility":"","type":"image","disableUpdates":false}},{"type":"shape","id":"1769c1b8-3991-4501-a5eb-c57fac8697cc","elementConfiguration":{"binding":"{{Form.Classification.Display}}","visibility":"","type":"text","disableUpdates":false}},{"type":"shape","id":"d946efc2-0320-4bf2-924e-3151f7e4fcd3","elementConfiguration":{"inheritDimensions":"{{InheritDimensions.InheritNone}}","width":"","height":"1 cm","image":"{{Form.SAPLogo.SubbrandWhite}}","visibility":"","type":"image","disableUpdates":false}},{"type":"shape","id":"d5d80186-ffeb-424b-a016-a4399a01d457","elementConfiguration":{"binding":"{{Form.Classification.Display}}","visibility":"","type":"text","disableUpdates":false}},{"type":"shape","id":"06df717c-c1f1-46ec-a4f6-baa6ec0bc6d7","elementConfiguration":{"inheritDimensions":"{{InheritDimensions.InheritNone}}","width":"","height":"1 cm","image":"{{Form.SAPLogo.SubbrandWhite}}","visibility":"","type":"image","disableUpdates":false}},{"type":"shape","id":"e7cc4469-f7ba-4f3e-be80-4a97ba2d306e","elementConfiguration":{"binding":"{{Form.Classification.Display}}","visibility":"","type":"text","disableUpdates":false}},{"type":"shape","id":"4ccdde27-6ada-414c-8490-7a8be76a2fed","elementConfiguration":{"binding":"{{StringJoin(\", \", Form.SpeakerName,\"SAP\")}}","type":"text","disableUpdates":false}},{"type":"shape","id":"291ef4c4-2667-47ac-82d1-ab8786a63ccf","elementConfiguration":{"binding":"{{FormatDateTime(Form.Date,\"MMMM dd, yyyy\",\"en-US\")}}","type":"text","disableUpdates":false}},{"type":"shape","id":"1580d160-2f44-4a40-975c-22908862a823","elementConfiguration":{"binding":"{{StringJoin(\", \", Form.SpeakerName,\"SAP\")}}","type":"text","disableUpdates":false}},{"type":"shape","id":"ea5ad8bf-2779-4dde-a90d-ffbf30a3a5ed","elementConfiguration":{"binding":"{{FormatDateTime(Form.Date,\"MMMM dd, yyyy\",\"en-US\")}}","type":"text","disableUpdates":false}},{"type":"shape","id":"54d21391-ca10-4812-81fe-34f15a769199","elementConfiguration":{"binding":"{{StringJoin(\", \", Form.SpeakerName,\"SAP\")}}","type":"text","disableUpdates":false}},{"type":"shape","id":"c1306039-4c04-4d2a-8251-fbed9a4dda91","elementConfiguration":{"binding":"{{FormatDateTime(Form.Date,\"MMMM dd, yyyy\",\"en-US\")}}","type":"text","disableUpdates":false}},{"type":"shape","id":"575bbea0-b912-49c3-a48d-98f23be21f38","elementConfiguration":{"binding":"{{StringJoin(\", \", Form.SpeakerName,\"SAP\")}}","type":"text","disableUpdates":false}},{"type":"shape","id":"920a2481-3d3e-48a5-b5e3-cd540d3643a6","elementConfiguration":{"binding":"{{FormatDateTime(Form.Date,\"MMMM dd, yyyy\",\"en-US\")}}","type":"text","disableUpdates":false}},{"type":"shape","id":"4f18fbe2-6ac9-4d8b-a2e3-015d283475a9","elementConfiguration":{"binding":"{{StringJoin(\", \", Form.SpeakerName,\"SAP\")}}","type":"text","disableUpdates":false}},{"type":"shape","id":"244f0085-f314-4773-8e88-80711a98e199","elementConfiguration":{"binding":"{{FormatDateTime(Form.Date,\"MMMM dd, yyyy\",\"en-US\")}}","type":"text","disableUpdates":false}},{"type":"shape","id":"f7b6a99a-f969-477c-840c-2fc762e374a6","elementConfiguration":{"binding":"{{StringJoin(\", \", Form.SpeakerName,\"SAP\")}}","type":"text","disableUpdates":false}},{"type":"shape","id":"c60973f4-1702-42e3-84be-ddd4e79d2fb5","elementConfiguration":{"binding":"{{FormatDateTime(Form.Date,\"MMMM dd, yyyy\",\"en-US\")}}","type":"text","disableUpdates":false}},{"type":"shape","id":"7d6d33ae-b48f-448c-a284-16576752910a","elementConfiguration":{"binding":"{{Form.SpeakerName}}","type":"text","disableUpdates":false}},{"type":"shape","id":"e960faf5-df58-46a9-8f3f-c87681ef79eb","elementConfiguration":{"binding":"{{Form.Email}}","type":"text","disableUpdates":false}}],"transformationConfigurations":[],"templateName":"SAP Template NEW","templateDescription":"","enableDocumentContentUpdater":true,"version":"2.0"}]]></TemplafyTemplateConfiguration>
</file>

<file path=customXml/itemProps1.xml><?xml version="1.0" encoding="utf-8"?>
<ds:datastoreItem xmlns:ds="http://schemas.openxmlformats.org/officeDocument/2006/customXml" ds:itemID="{291DCB28-1C52-4C0E-804A-6BD2D3F0FB8D}">
  <ds:schemaRefs>
    <ds:schemaRef ds:uri="http://schemas.microsoft.com/sharepoint/v3/contenttype/forms"/>
  </ds:schemaRefs>
</ds:datastoreItem>
</file>

<file path=customXml/itemProps2.xml><?xml version="1.0" encoding="utf-8"?>
<ds:datastoreItem xmlns:ds="http://schemas.openxmlformats.org/officeDocument/2006/customXml" ds:itemID="{5E726EAB-FE30-4F4D-A478-DE4759D9A12E}">
  <ds:schemaRefs/>
</ds:datastoreItem>
</file>

<file path=customXml/itemProps3.xml><?xml version="1.0" encoding="utf-8"?>
<ds:datastoreItem xmlns:ds="http://schemas.openxmlformats.org/officeDocument/2006/customXml" ds:itemID="{CC49FFC8-2FF3-4057-96F0-3BCD1A4F0351}">
  <ds:schemaRefs/>
</ds:datastoreItem>
</file>

<file path=customXml/itemProps4.xml><?xml version="1.0" encoding="utf-8"?>
<ds:datastoreItem xmlns:ds="http://schemas.openxmlformats.org/officeDocument/2006/customXml" ds:itemID="{DBD4FA0D-165F-44AB-8E68-4A992CD269F1}"/>
</file>

<file path=customXml/itemProps5.xml><?xml version="1.0" encoding="utf-8"?>
<ds:datastoreItem xmlns:ds="http://schemas.openxmlformats.org/officeDocument/2006/customXml" ds:itemID="{3E4381A6-8E2C-574D-B48E-536A53B18F66}">
  <ds:schemaRefs/>
</ds:datastoreItem>
</file>

<file path=customXml/itemProps6.xml><?xml version="1.0" encoding="utf-8"?>
<ds:datastoreItem xmlns:ds="http://schemas.openxmlformats.org/officeDocument/2006/customXml" ds:itemID="{47869D81-24A3-1649-A7BC-E604AE89024C}">
  <ds:schemaRefs/>
</ds:datastoreItem>
</file>

<file path=customXml/itemProps7.xml><?xml version="1.0" encoding="utf-8"?>
<ds:datastoreItem xmlns:ds="http://schemas.openxmlformats.org/officeDocument/2006/customXml" ds:itemID="{C1422F45-04DB-421D-8796-270006657806}">
  <ds:schemaRefs>
    <ds:schemaRef ds:uri="http://purl.org/dc/elements/1.1/"/>
    <ds:schemaRef ds:uri="http://purl.org/dc/terms/"/>
    <ds:schemaRef ds:uri="0e00d59e-b0d2-4e67-be34-67e465b0fbed"/>
    <ds:schemaRef ds:uri="http://schemas.microsoft.com/office/2006/metadata/properties"/>
    <ds:schemaRef ds:uri="http://www.w3.org/XML/1998/namespace"/>
    <ds:schemaRef ds:uri="779f7773-5b16-460b-be9a-e10be11b395c"/>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customXml/itemProps8.xml><?xml version="1.0" encoding="utf-8"?>
<ds:datastoreItem xmlns:ds="http://schemas.openxmlformats.org/officeDocument/2006/customXml" ds:itemID="{F444086E-23D4-43AE-9B84-AA7543534A61}">
  <ds:schemaRefs/>
</ds:datastoreItem>
</file>

<file path=customXml/itemProps9.xml><?xml version="1.0" encoding="utf-8"?>
<ds:datastoreItem xmlns:ds="http://schemas.openxmlformats.org/officeDocument/2006/customXml" ds:itemID="{626BBCBB-1894-4E66-BA48-9E91CE3ACBA0}">
  <ds:schemaRefs/>
</ds:datastoreItem>
</file>

<file path=docMetadata/LabelInfo.xml><?xml version="1.0" encoding="utf-8"?>
<clbl:labelList xmlns:clbl="http://schemas.microsoft.com/office/2020/mipLabelMetadata">
  <clbl:label id="{42f7676c-f455-423c-82f6-dc2d99791af7}" enabled="0" method="" siteId="{42f7676c-f455-423c-82f6-dc2d99791af7}" removed="1"/>
</clbl:labelList>
</file>

<file path=docProps/app.xml><?xml version="1.0" encoding="utf-8"?>
<Properties xmlns="http://schemas.openxmlformats.org/officeDocument/2006/extended-properties" xmlns:vt="http://schemas.openxmlformats.org/officeDocument/2006/docPropsVTypes">
  <Template/>
  <TotalTime>0</TotalTime>
  <Words>1230</Words>
  <Application>Microsoft Office PowerPoint</Application>
  <PresentationFormat>Benutzerdefiniert</PresentationFormat>
  <Paragraphs>129</Paragraphs>
  <Slides>10</Slides>
  <Notes>8</Notes>
  <HiddenSlides>0</HiddenSlides>
  <MMClips>1</MMClips>
  <ScaleCrop>false</ScaleCrop>
  <HeadingPairs>
    <vt:vector size="8" baseType="variant">
      <vt:variant>
        <vt:lpstr>Verwendete Schriftarten</vt:lpstr>
      </vt:variant>
      <vt:variant>
        <vt:i4>12</vt:i4>
      </vt:variant>
      <vt:variant>
        <vt:lpstr>Design</vt:lpstr>
      </vt:variant>
      <vt:variant>
        <vt:i4>2</vt:i4>
      </vt:variant>
      <vt:variant>
        <vt:lpstr>Eingebettete OLE-Server</vt:lpstr>
      </vt:variant>
      <vt:variant>
        <vt:i4>1</vt:i4>
      </vt:variant>
      <vt:variant>
        <vt:lpstr>Folientitel</vt:lpstr>
      </vt:variant>
      <vt:variant>
        <vt:i4>10</vt:i4>
      </vt:variant>
    </vt:vector>
  </HeadingPairs>
  <TitlesOfParts>
    <vt:vector size="25" baseType="lpstr">
      <vt:lpstr>Segoe UI</vt:lpstr>
      <vt:lpstr>Calibri</vt:lpstr>
      <vt:lpstr>Times New Roman</vt:lpstr>
      <vt:lpstr>72 Brand Medium</vt:lpstr>
      <vt:lpstr>72 Brand</vt:lpstr>
      <vt:lpstr>72 Brand Book</vt:lpstr>
      <vt:lpstr>Courier New</vt:lpstr>
      <vt:lpstr>Aptos</vt:lpstr>
      <vt:lpstr>Arial</vt:lpstr>
      <vt:lpstr>wingdings</vt:lpstr>
      <vt:lpstr>wingdings</vt:lpstr>
      <vt:lpstr>Symbol</vt:lpstr>
      <vt:lpstr>SAP Template 2025</vt:lpstr>
      <vt:lpstr>4_SAP Template 2024</vt:lpstr>
      <vt:lpstr>think-cell Slide</vt:lpstr>
      <vt:lpstr>Wie passen  Künstliche Intelligenz und HR Transformation zusammen?</vt:lpstr>
      <vt:lpstr>Es gibt viele Möglichkeiten Künstliche Intelligenz in  SAP-SuccessFactors HCM „out-of-the-box“ zu nutzen</vt:lpstr>
      <vt:lpstr>PowerPoint-Präsentation</vt:lpstr>
      <vt:lpstr>PowerPoint-Präsentation</vt:lpstr>
      <vt:lpstr>KI-unterstützte Vergütungsinformationen</vt:lpstr>
      <vt:lpstr>KI-unterstützte Q&amp;As</vt:lpstr>
      <vt:lpstr>KI-unterstützte Entwicklungsziele</vt:lpstr>
      <vt:lpstr>PowerPoint-Präsentation</vt:lpstr>
      <vt:lpstr>Die kontinuierliche Weiterentwicklung von KI für SAP-SuccessFactors HCM </vt:lpstr>
      <vt:lpstr>Vielen Dank.</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Nicole Schröter</dc:creator>
  <cp:keywords/>
  <dc:description/>
  <cp:lastModifiedBy>Nicole Schroeter</cp:lastModifiedBy>
  <cp:revision>41</cp:revision>
  <dcterms:created xsi:type="dcterms:W3CDTF">2024-12-02T14:29:39Z</dcterms:created>
  <dcterms:modified xsi:type="dcterms:W3CDTF">2025-04-30T10:33: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B6012EE0EE194E4F8FAF564DAC167FEA</vt:lpwstr>
  </property>
  <property fmtid="{D5CDD505-2E9C-101B-9397-08002B2CF9AE}" pid="4" name="TemplafyTimeStamp">
    <vt:lpwstr>2024-09-17T07:55:49</vt:lpwstr>
  </property>
  <property fmtid="{D5CDD505-2E9C-101B-9397-08002B2CF9AE}" pid="5" name="TemplafyTenantId">
    <vt:lpwstr>sap</vt:lpwstr>
  </property>
  <property fmtid="{D5CDD505-2E9C-101B-9397-08002B2CF9AE}" pid="6" name="TemplafyTemplateId">
    <vt:lpwstr>743088030174412800</vt:lpwstr>
  </property>
  <property fmtid="{D5CDD505-2E9C-101B-9397-08002B2CF9AE}" pid="7" name="TemplafyUserProfileId">
    <vt:lpwstr>637653955260011855</vt:lpwstr>
  </property>
  <property fmtid="{D5CDD505-2E9C-101B-9397-08002B2CF9AE}" pid="8" name="TemplafyLanguageCode">
    <vt:lpwstr>en-US</vt:lpwstr>
  </property>
  <property fmtid="{D5CDD505-2E9C-101B-9397-08002B2CF9AE}" pid="9" name="TemplafyFromBlank">
    <vt:bool>false</vt:bool>
  </property>
  <property fmtid="{D5CDD505-2E9C-101B-9397-08002B2CF9AE}" pid="10" name="MediaServiceImageTags">
    <vt:lpwstr/>
  </property>
</Properties>
</file>